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docProps/app.xml" ContentType="application/vnd.openxmlformats-officedocument.extended-propertie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2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6"/>
  </p:notesMasterIdLst>
  <p:sldIdLst>
    <p:sldId id="259" r:id="rId4"/>
    <p:sldId id="258" r:id="rId5"/>
  </p:sldIdLst>
  <p:sldSz cx="9906000" cy="6858000" type="A4"/>
  <p:notesSz cx="6858000" cy="9144000"/>
  <p:custDataLst>
    <p:tags r:id="rId7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3399"/>
    <a:srgbClr val="FF6600"/>
    <a:srgbClr val="FFFF00"/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61" autoAdjust="0"/>
    <p:restoredTop sz="89383" autoAdjust="0"/>
  </p:normalViewPr>
  <p:slideViewPr>
    <p:cSldViewPr>
      <p:cViewPr varScale="1">
        <p:scale>
          <a:sx n="83" d="100"/>
          <a:sy n="83" d="100"/>
        </p:scale>
        <p:origin x="1936" y="200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74A3F-6DDF-43F2-9CA4-9E1D8A23278C}" type="datetimeFigureOut">
              <a:rPr lang="en-GB" smtClean="0"/>
              <a:t>24/09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7CDC-80B5-454B-854A-A0120F8F4F4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2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B7CDC-80B5-454B-854A-A0120F8F4F4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29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475D64C-5C35-4710-85EE-559A45758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82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C93A83-F54F-4AC9-86B6-DDCE2C6BF7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DA5446-59A4-4895-A16D-AAD063ABE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02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986FA7-61C1-421E-ADBA-0EF1CBA146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2BA73F-CB5C-4A3F-BCEE-63AF6E9AF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56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29176B-9D42-491A-9119-62E1A91076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36341C-6D44-47F2-98CC-9B3C8297F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47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646311-E8CE-4545-9827-A7F2B835BA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for at redigere undertiteltypografien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62F577-2178-4540-886F-2943EA2E8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1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A7150C-BC10-4D9D-BBDC-0EE071C5A4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F2D28F-C615-4908-90D4-319877FB0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32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663B94E-25CD-40DE-A061-E2352243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AA79753-63E8-4385-9022-BF068F3FE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36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53F2CC-9DA2-4787-8A46-9B491EA841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1032FB9-77E8-4BF9-BAE4-8214D6A17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2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38FF46-FA95-4B77-A994-2610FB9041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 hasCustomPrompt="1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33E9F4-0C79-475A-BDCD-CDDA6BBB6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1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C9CE9ED-A66C-481B-B08A-4DC8E8E2CF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F570BA-788D-4B5D-8C9D-BFBDDCCBB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094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7D8C2B0-71EC-414C-AFCB-C2738A1652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A15F1B-7C3E-4B13-B0ED-AB1FE6F7E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8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777E7EC-FB7A-41E1-85D2-B8E02C16C5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CB8705-674A-43E9-BDAB-2682D1CE7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9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244BFD-87F7-4072-89C9-BD89672ED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6E7A5A-6175-486C-BB88-0306FCB73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23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21664AC-1CDF-49E8-B04C-C688744C62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98FDCA-8708-4DC9-A356-AF5300901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44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20ECBD-20FF-44F5-957F-0485EA4613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1F6CFD7-7668-4054-BDAA-229B4BE2D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640" y="1121879"/>
            <a:ext cx="7428720" cy="2387771"/>
          </a:xfrm>
        </p:spPr>
        <p:txBody>
          <a:bodyPr anchor="b"/>
          <a:lstStyle>
            <a:lvl1pPr algn="ctr"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1F81A8A-F1D4-46BB-BA94-5F78A52B2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640" y="3601819"/>
            <a:ext cx="7428720" cy="1656174"/>
          </a:xfrm>
        </p:spPr>
        <p:txBody>
          <a:bodyPr/>
          <a:lstStyle>
            <a:lvl1pPr marL="0" indent="0" algn="ctr">
              <a:buNone/>
              <a:defRPr sz="2177"/>
            </a:lvl1pPr>
            <a:lvl2pPr marL="414772" indent="0" algn="ctr">
              <a:buNone/>
              <a:defRPr sz="1814"/>
            </a:lvl2pPr>
            <a:lvl3pPr marL="829544" indent="0" algn="ctr">
              <a:buNone/>
              <a:defRPr sz="1633"/>
            </a:lvl3pPr>
            <a:lvl4pPr marL="1244316" indent="0" algn="ctr">
              <a:buNone/>
              <a:defRPr sz="1452"/>
            </a:lvl4pPr>
            <a:lvl5pPr marL="1659087" indent="0" algn="ctr">
              <a:buNone/>
              <a:defRPr sz="1452"/>
            </a:lvl5pPr>
            <a:lvl6pPr marL="2073859" indent="0" algn="ctr">
              <a:buNone/>
              <a:defRPr sz="1452"/>
            </a:lvl6pPr>
            <a:lvl7pPr marL="2488631" indent="0" algn="ctr">
              <a:buNone/>
              <a:defRPr sz="1452"/>
            </a:lvl7pPr>
            <a:lvl8pPr marL="2903403" indent="0" algn="ctr">
              <a:buNone/>
              <a:defRPr sz="1452"/>
            </a:lvl8pPr>
            <a:lvl9pPr marL="3318175" indent="0" algn="ctr">
              <a:buNone/>
              <a:defRPr sz="1452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A202372-012A-45D1-8C82-35115EB9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18D9812-F7D6-4729-8306-4BB3BB609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C87C7DC-FE2C-426B-B4E7-901D45663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1D73AAFC-5EDE-402A-ABA4-49517718F453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1156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7FCD757-81E6-43D5-8484-34F51EABE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D1EF704-EF9F-4639-A4BE-C657247C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BD7890B-C1EA-4785-9BF3-9818DA2D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80ED6F3-9A38-4955-B500-86F62C5A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6877513-0328-402F-9A6C-70A900F0A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3A91C9D-6FDB-4D53-BD64-D178ADDC7CA1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4916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E1042AD-F42B-488D-81DA-DD5C2187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81" y="1709460"/>
            <a:ext cx="8544120" cy="2852939"/>
          </a:xfrm>
        </p:spPr>
        <p:txBody>
          <a:bodyPr anchor="b"/>
          <a:lstStyle>
            <a:lvl1pPr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5C96F6A-30AB-4027-A332-AFA2D67C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481" y="4589763"/>
            <a:ext cx="8544120" cy="1499197"/>
          </a:xfrm>
        </p:spPr>
        <p:txBody>
          <a:bodyPr/>
          <a:lstStyle>
            <a:lvl1pPr marL="0" indent="0">
              <a:buNone/>
              <a:defRPr sz="2177">
                <a:solidFill>
                  <a:schemeClr val="tx1">
                    <a:tint val="75000"/>
                  </a:schemeClr>
                </a:solidFill>
              </a:defRPr>
            </a:lvl1pPr>
            <a:lvl2pPr marL="414772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2pPr>
            <a:lvl3pPr marL="829544" indent="0">
              <a:buNone/>
              <a:defRPr sz="1633">
                <a:solidFill>
                  <a:schemeClr val="tx1">
                    <a:tint val="75000"/>
                  </a:schemeClr>
                </a:solidFill>
              </a:defRPr>
            </a:lvl3pPr>
            <a:lvl4pPr marL="1244316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4pPr>
            <a:lvl5pPr marL="1659087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5pPr>
            <a:lvl6pPr marL="2073859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6pPr>
            <a:lvl7pPr marL="2488631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7pPr>
            <a:lvl8pPr marL="2903403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8pPr>
            <a:lvl9pPr marL="3318175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19F8469-305E-43C7-8803-AD9C3D321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FC97625-40D2-4474-89BF-AD2073C12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AB3596-C43F-4BB4-BFB9-3BB2F0F02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CF93745-BFC2-43C5-9318-0AB3A260AD6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7257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6CBFF5-B087-42C9-9403-7FA29DF1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737DE1A-6168-4ED0-92CC-81396800F3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D423F9BB-D4AD-4E28-8C90-4E4B6BC1B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8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E9CF5A1-1350-4365-B5CD-9C3EE5AF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D65050A-BBBF-402F-9508-36D1C896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ACDCE3-7228-43A7-AA53-B21AE851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52B85A3C-63BF-41FB-B681-BF65C1DFC2A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70494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E0ACEC2-BFB8-431F-B178-4211A8CA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1" y="365798"/>
            <a:ext cx="8544120" cy="1324939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C95D13A-2F86-47F1-96A3-A70A55587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720" y="1680657"/>
            <a:ext cx="419172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0D7AFB5-0FC5-48F4-9285-E26654900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1720" y="2504424"/>
            <a:ext cx="419172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4397556E-3923-4ECC-AB41-30B89F8157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5400" y="1680657"/>
            <a:ext cx="421044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352337F7-FCD3-4A10-B37D-A1BCCD87A2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5400" y="2504424"/>
            <a:ext cx="421044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1180E839-6CB3-414B-8216-7557495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C61E16D2-5435-4CF8-AFC2-77918CBD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2B01A410-C96D-4E95-95F3-8386AA4D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925EF18-AA17-466C-8995-30B16313BBA5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97770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F584F75-75E9-4CF9-841D-ACB39D943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1D5C0AD-7E73-4F7F-B512-061BAD938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7BB04357-DC7A-422D-BF55-4DF389FCD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6419DAB-73E9-418B-85E4-B5EE9E60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2001423-3A24-404E-9A2D-0ABF8AB58DF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77D38E2C-D61D-4D1A-9870-52482638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80A01D1B-B70D-4A0A-BC88-A3F9A69F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45A956A-48F1-49A8-AA99-2909B65C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140EFDF-43E7-4BC5-90C1-BB3E0730CEFB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64796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9B1D34-4986-491C-8EA0-F773871DC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59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14E5686-F9A5-4A45-AD38-AE42E46B8B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D33D50-9D6A-4A5C-ACF2-AFFA80B52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66C8A98-E314-44E2-B67F-645E46201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>
              <a:defRPr sz="2903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42F0B16D-D68F-4A0C-A2F6-3FD7AEAD7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1554EB13-ECFD-4004-804E-EC43A1D7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AA519C9-4DFB-486E-BBFE-7B5F515C0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A7B21077-74FE-444D-BCE0-3CE22764A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041693A-E587-4A87-8CDB-04052177F91C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65389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E89C4C6-7852-41FA-BE9E-C8D603F8C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BABF6C82-4DD3-4312-B619-8947FD4B7E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 marL="0" indent="0">
              <a:buNone/>
              <a:defRPr sz="2903"/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A86011C-AD63-4860-BA30-8050D49C8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44B3AE61-CC26-4258-91CA-C33E018D9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08EEC69-5634-4408-A3EF-F9C168EB4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034B294A-8468-4049-A00C-89A1ABCB6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7C89BB95-D478-443D-B712-8E9559F4800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64385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C27925D-F7A2-44A5-9E5A-EDA3A6BCB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4EA1F8DE-431C-47B2-A2A9-7B66ECE7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FFA443D-F3A9-4AA7-B58C-9B3410064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A101EF5-543A-4E03-AC6A-9C88F6C8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1135614-AA99-4E30-8341-53E0CF0D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34B4CCD-3B18-47D5-A148-511E09F4F79A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8836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4C8B2273-0690-476C-BE85-2FF59CFC8E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168201" y="273629"/>
            <a:ext cx="2224560" cy="5293996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28562FC-435C-4D03-8752-AC625CBE5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94521" y="273629"/>
            <a:ext cx="6523920" cy="5293996"/>
          </a:xfr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77948FE-20E7-44B1-A817-B77DF156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12BF600-A773-4D9D-A1C1-84FA3904C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2B5BE70-ACC6-46AE-B58D-6E61DACC3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C338EE8-8539-4080-AA64-F9E18093433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679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84DB1C-C2AA-44B0-A744-C8D7F7683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8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EF805E-727A-48F9-8288-FC2C06B69D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2B3CE5D-4A9B-43C6-BAFE-6E2FCDC9E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097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D171FD-EB90-4CA8-AE93-8E5DD4CE59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45570-50D9-47A0-8142-8D0183D55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0B410-9515-47D5-8853-A100B38EFD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08F4C-D9E5-4282-B6CC-8F564A7EE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34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7C048FA-BA0D-410A-8F9A-7201F6BF7F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F2C256-ED27-45F3-894B-87788DD72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53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D6D721-443E-440D-B04B-457070897E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i-FI" noProof="0"/>
              <a:t>Lisää kuva napsauttamalla kuvaketta</a:t>
            </a:r>
            <a:endParaRPr lang="en-GB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7"/>
          <p:cNvGrpSpPr>
            <a:grpSpLocks/>
          </p:cNvGrpSpPr>
          <p:nvPr/>
        </p:nvGrpSpPr>
        <p:grpSpPr bwMode="auto">
          <a:xfrm>
            <a:off x="488950" y="1268413"/>
            <a:ext cx="8964613" cy="4387850"/>
            <a:chOff x="290" y="736"/>
            <a:chExt cx="5671" cy="2872"/>
          </a:xfrm>
        </p:grpSpPr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841" y="1022"/>
              <a:ext cx="4535" cy="2270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1968" y="1020"/>
              <a:ext cx="2274" cy="227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4" name="Line 10"/>
            <p:cNvSpPr>
              <a:spLocks noChangeShapeType="1"/>
            </p:cNvSpPr>
            <p:nvPr/>
          </p:nvSpPr>
          <p:spPr bwMode="auto">
            <a:xfrm flipH="1">
              <a:off x="3117" y="1053"/>
              <a:ext cx="13" cy="2555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5" name="Line 11"/>
            <p:cNvSpPr>
              <a:spLocks noChangeShapeType="1"/>
            </p:cNvSpPr>
            <p:nvPr/>
          </p:nvSpPr>
          <p:spPr bwMode="auto">
            <a:xfrm>
              <a:off x="290" y="2157"/>
              <a:ext cx="5671" cy="1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296" y="736"/>
              <a:ext cx="5664" cy="284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37550" y="6305550"/>
            <a:ext cx="1241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135063">
              <a:defRPr/>
            </a:pPr>
            <a:r>
              <a:rPr lang="en-GB" sz="1200" dirty="0"/>
              <a:t>12,5 x 25 meter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60388" y="6308725"/>
            <a:ext cx="152717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30D7D0-0E94-4BB7-B12F-04B7CC286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1069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73385E-2262-482A-ABFC-559635E39A1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60D0987-1C1B-49DE-B65E-B311454087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208" y="273352"/>
            <a:ext cx="8898220" cy="113031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anchor="ctr" anchorCtr="0" compatLnSpc="1"/>
          <a:lstStyle/>
          <a:p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189D2411-AB9F-4894-8A94-35E969D017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94208" y="1604188"/>
            <a:ext cx="8898220" cy="3963441"/>
          </a:xfrm>
          <a:prstGeom prst="rect">
            <a:avLst/>
          </a:prstGeom>
          <a:noFill/>
          <a:ln>
            <a:noFill/>
          </a:ln>
        </p:spPr>
        <p:txBody>
          <a:bodyPr vert="horz" lIns="0" tIns="28440" rIns="0" bIns="0" anchor="t" anchorCtr="0" compatLnSpc="1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BA34C4E-B80F-45CE-AD89-B2E8219AFC46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494562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DE1C5F9-DCFD-4D5B-8CB3-DC26385E2355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3387996" y="6246927"/>
            <a:ext cx="3124795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768813-1B8D-43D0-841C-C44EB3EC693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7102515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fld id="{B39DFD70-D03B-4F0C-8F0B-BEC6EBD5911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29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ctr" rtl="0" hangingPunct="0">
        <a:lnSpc>
          <a:spcPct val="93000"/>
        </a:lnSpc>
        <a:spcBef>
          <a:spcPts val="0"/>
        </a:spcBef>
        <a:spcAft>
          <a:spcPts val="0"/>
        </a:spcAft>
        <a:tabLst>
          <a:tab pos="0" algn="l"/>
          <a:tab pos="407259" algn="l"/>
          <a:tab pos="814846" algn="l"/>
          <a:tab pos="1222434" algn="l"/>
          <a:tab pos="1630021" algn="l"/>
          <a:tab pos="2037607" algn="l"/>
          <a:tab pos="2445194" algn="l"/>
          <a:tab pos="2852781" algn="l"/>
          <a:tab pos="3260368" algn="l"/>
          <a:tab pos="3667954" algn="l"/>
          <a:tab pos="4075542" algn="l"/>
          <a:tab pos="4483127" algn="l"/>
          <a:tab pos="4890715" algn="l"/>
          <a:tab pos="5298302" algn="l"/>
          <a:tab pos="5705889" algn="l"/>
          <a:tab pos="6113476" algn="l"/>
          <a:tab pos="6521062" algn="l"/>
          <a:tab pos="6928649" algn="l"/>
          <a:tab pos="7336235" algn="l"/>
          <a:tab pos="7743823" algn="l"/>
          <a:tab pos="8151410" algn="l"/>
        </a:tabLst>
        <a:defRPr lang="fi-FI" sz="3992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</p:titleStyle>
    <p:bodyStyle>
      <a:lvl1pPr marL="310916" marR="0" indent="-310916" algn="l" rtl="0" hangingPunct="0">
        <a:lnSpc>
          <a:spcPct val="93000"/>
        </a:lnSpc>
        <a:spcBef>
          <a:spcPts val="1281"/>
        </a:spcBef>
        <a:spcAft>
          <a:spcPts val="0"/>
        </a:spcAft>
        <a:tabLst>
          <a:tab pos="310916" algn="l"/>
          <a:tab pos="407260" algn="l"/>
          <a:tab pos="814847" algn="l"/>
          <a:tab pos="1222434" algn="l"/>
          <a:tab pos="1630021" algn="l"/>
          <a:tab pos="2037607" algn="l"/>
          <a:tab pos="2445194" algn="l"/>
          <a:tab pos="2852781" algn="l"/>
          <a:tab pos="3260367" algn="l"/>
          <a:tab pos="3667955" algn="l"/>
          <a:tab pos="4075541" algn="l"/>
          <a:tab pos="4482802" algn="l"/>
          <a:tab pos="4890389" algn="l"/>
          <a:tab pos="5297975" algn="l"/>
          <a:tab pos="5705562" algn="l"/>
          <a:tab pos="6113148" algn="l"/>
          <a:tab pos="6520736" algn="l"/>
          <a:tab pos="6928322" algn="l"/>
          <a:tab pos="7335910" algn="l"/>
          <a:tab pos="7743496" algn="l"/>
          <a:tab pos="8151083" algn="l"/>
        </a:tabLst>
        <a:defRPr lang="fi-FI" sz="2903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  <a:lvl2pPr marL="622158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6.png"/><Relationship Id="rId21" Type="http://schemas.openxmlformats.org/officeDocument/2006/relationships/image" Target="../media/image21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63" Type="http://schemas.openxmlformats.org/officeDocument/2006/relationships/image" Target="../media/image63.png"/><Relationship Id="rId68" Type="http://schemas.openxmlformats.org/officeDocument/2006/relationships/image" Target="../media/image68.png"/><Relationship Id="rId84" Type="http://schemas.openxmlformats.org/officeDocument/2006/relationships/image" Target="../media/image84.png"/><Relationship Id="rId89" Type="http://schemas.openxmlformats.org/officeDocument/2006/relationships/image" Target="../media/image89.png"/><Relationship Id="rId16" Type="http://schemas.openxmlformats.org/officeDocument/2006/relationships/image" Target="../media/image16.png"/><Relationship Id="rId11" Type="http://schemas.openxmlformats.org/officeDocument/2006/relationships/image" Target="../media/image11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74" Type="http://schemas.openxmlformats.org/officeDocument/2006/relationships/image" Target="../media/image74.png"/><Relationship Id="rId79" Type="http://schemas.openxmlformats.org/officeDocument/2006/relationships/image" Target="../media/image79.png"/><Relationship Id="rId5" Type="http://schemas.openxmlformats.org/officeDocument/2006/relationships/image" Target="../media/image5.jpg"/><Relationship Id="rId90" Type="http://schemas.openxmlformats.org/officeDocument/2006/relationships/image" Target="../media/image90.png"/><Relationship Id="rId95" Type="http://schemas.openxmlformats.org/officeDocument/2006/relationships/image" Target="../media/image95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64" Type="http://schemas.openxmlformats.org/officeDocument/2006/relationships/image" Target="../media/image64.png"/><Relationship Id="rId69" Type="http://schemas.openxmlformats.org/officeDocument/2006/relationships/image" Target="../media/image69.png"/><Relationship Id="rId80" Type="http://schemas.openxmlformats.org/officeDocument/2006/relationships/image" Target="../media/image80.png"/><Relationship Id="rId85" Type="http://schemas.openxmlformats.org/officeDocument/2006/relationships/image" Target="../media/image85.png"/><Relationship Id="rId3" Type="http://schemas.openxmlformats.org/officeDocument/2006/relationships/image" Target="../media/image3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67" Type="http://schemas.openxmlformats.org/officeDocument/2006/relationships/image" Target="../media/image67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70" Type="http://schemas.openxmlformats.org/officeDocument/2006/relationships/image" Target="../media/image70.png"/><Relationship Id="rId75" Type="http://schemas.openxmlformats.org/officeDocument/2006/relationships/image" Target="../media/image75.png"/><Relationship Id="rId83" Type="http://schemas.openxmlformats.org/officeDocument/2006/relationships/image" Target="../media/image83.png"/><Relationship Id="rId88" Type="http://schemas.openxmlformats.org/officeDocument/2006/relationships/image" Target="../media/image88.png"/><Relationship Id="rId91" Type="http://schemas.openxmlformats.org/officeDocument/2006/relationships/image" Target="../media/image91.png"/><Relationship Id="rId96" Type="http://schemas.openxmlformats.org/officeDocument/2006/relationships/image" Target="../media/image9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jp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65" Type="http://schemas.openxmlformats.org/officeDocument/2006/relationships/image" Target="../media/image65.png"/><Relationship Id="rId73" Type="http://schemas.openxmlformats.org/officeDocument/2006/relationships/image" Target="../media/image73.png"/><Relationship Id="rId78" Type="http://schemas.openxmlformats.org/officeDocument/2006/relationships/image" Target="../media/image78.png"/><Relationship Id="rId81" Type="http://schemas.openxmlformats.org/officeDocument/2006/relationships/image" Target="../media/image81.png"/><Relationship Id="rId86" Type="http://schemas.openxmlformats.org/officeDocument/2006/relationships/image" Target="../media/image86.png"/><Relationship Id="rId94" Type="http://schemas.openxmlformats.org/officeDocument/2006/relationships/image" Target="../media/image94.png"/><Relationship Id="rId4" Type="http://schemas.openxmlformats.org/officeDocument/2006/relationships/image" Target="../media/image4.jpg"/><Relationship Id="rId9" Type="http://schemas.openxmlformats.org/officeDocument/2006/relationships/image" Target="../media/image9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9" Type="http://schemas.openxmlformats.org/officeDocument/2006/relationships/image" Target="../media/image39.png"/><Relationship Id="rId34" Type="http://schemas.openxmlformats.org/officeDocument/2006/relationships/image" Target="../media/image34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76" Type="http://schemas.openxmlformats.org/officeDocument/2006/relationships/image" Target="../media/image76.png"/><Relationship Id="rId97" Type="http://schemas.openxmlformats.org/officeDocument/2006/relationships/image" Target="../media/image97.png"/><Relationship Id="rId7" Type="http://schemas.openxmlformats.org/officeDocument/2006/relationships/image" Target="../media/image7.png"/><Relationship Id="rId71" Type="http://schemas.openxmlformats.org/officeDocument/2006/relationships/image" Target="../media/image71.png"/><Relationship Id="rId92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29.png"/><Relationship Id="rId24" Type="http://schemas.openxmlformats.org/officeDocument/2006/relationships/image" Target="../media/image24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66" Type="http://schemas.openxmlformats.org/officeDocument/2006/relationships/image" Target="../media/image66.png"/><Relationship Id="rId87" Type="http://schemas.openxmlformats.org/officeDocument/2006/relationships/image" Target="../media/image87.png"/><Relationship Id="rId61" Type="http://schemas.openxmlformats.org/officeDocument/2006/relationships/image" Target="../media/image61.png"/><Relationship Id="rId82" Type="http://schemas.openxmlformats.org/officeDocument/2006/relationships/image" Target="../media/image82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56" Type="http://schemas.openxmlformats.org/officeDocument/2006/relationships/image" Target="../media/image56.png"/><Relationship Id="rId77" Type="http://schemas.openxmlformats.org/officeDocument/2006/relationships/image" Target="../media/image77.png"/><Relationship Id="rId8" Type="http://schemas.openxmlformats.org/officeDocument/2006/relationships/image" Target="../media/image8.jpeg"/><Relationship Id="rId51" Type="http://schemas.openxmlformats.org/officeDocument/2006/relationships/image" Target="../media/image51.png"/><Relationship Id="rId72" Type="http://schemas.openxmlformats.org/officeDocument/2006/relationships/image" Target="../media/image72.png"/><Relationship Id="rId93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7.png"/><Relationship Id="rId21" Type="http://schemas.openxmlformats.org/officeDocument/2006/relationships/image" Target="../media/image22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63" Type="http://schemas.openxmlformats.org/officeDocument/2006/relationships/image" Target="../media/image64.png"/><Relationship Id="rId68" Type="http://schemas.openxmlformats.org/officeDocument/2006/relationships/image" Target="../media/image69.png"/><Relationship Id="rId84" Type="http://schemas.openxmlformats.org/officeDocument/2006/relationships/image" Target="../media/image85.png"/><Relationship Id="rId89" Type="http://schemas.openxmlformats.org/officeDocument/2006/relationships/image" Target="../media/image90.png"/><Relationship Id="rId16" Type="http://schemas.openxmlformats.org/officeDocument/2006/relationships/image" Target="../media/image17.png"/><Relationship Id="rId11" Type="http://schemas.openxmlformats.org/officeDocument/2006/relationships/image" Target="../media/image12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74" Type="http://schemas.openxmlformats.org/officeDocument/2006/relationships/image" Target="../media/image75.png"/><Relationship Id="rId79" Type="http://schemas.openxmlformats.org/officeDocument/2006/relationships/image" Target="../media/image80.png"/><Relationship Id="rId5" Type="http://schemas.openxmlformats.org/officeDocument/2006/relationships/image" Target="../media/image6.jpg"/><Relationship Id="rId90" Type="http://schemas.openxmlformats.org/officeDocument/2006/relationships/image" Target="../media/image91.png"/><Relationship Id="rId95" Type="http://schemas.openxmlformats.org/officeDocument/2006/relationships/image" Target="../media/image96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64" Type="http://schemas.openxmlformats.org/officeDocument/2006/relationships/image" Target="../media/image65.png"/><Relationship Id="rId69" Type="http://schemas.openxmlformats.org/officeDocument/2006/relationships/image" Target="../media/image70.png"/><Relationship Id="rId8" Type="http://schemas.openxmlformats.org/officeDocument/2006/relationships/image" Target="../media/image9.jpeg"/><Relationship Id="rId51" Type="http://schemas.openxmlformats.org/officeDocument/2006/relationships/image" Target="../media/image52.png"/><Relationship Id="rId72" Type="http://schemas.openxmlformats.org/officeDocument/2006/relationships/image" Target="../media/image73.png"/><Relationship Id="rId80" Type="http://schemas.openxmlformats.org/officeDocument/2006/relationships/image" Target="../media/image81.png"/><Relationship Id="rId85" Type="http://schemas.openxmlformats.org/officeDocument/2006/relationships/image" Target="../media/image86.png"/><Relationship Id="rId93" Type="http://schemas.openxmlformats.org/officeDocument/2006/relationships/image" Target="../media/image94.png"/><Relationship Id="rId3" Type="http://schemas.openxmlformats.org/officeDocument/2006/relationships/image" Target="../media/image4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67" Type="http://schemas.openxmlformats.org/officeDocument/2006/relationships/image" Target="../media/image68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70" Type="http://schemas.openxmlformats.org/officeDocument/2006/relationships/image" Target="../media/image71.png"/><Relationship Id="rId75" Type="http://schemas.openxmlformats.org/officeDocument/2006/relationships/image" Target="../media/image76.png"/><Relationship Id="rId83" Type="http://schemas.openxmlformats.org/officeDocument/2006/relationships/image" Target="../media/image84.png"/><Relationship Id="rId88" Type="http://schemas.openxmlformats.org/officeDocument/2006/relationships/image" Target="../media/image89.png"/><Relationship Id="rId91" Type="http://schemas.openxmlformats.org/officeDocument/2006/relationships/image" Target="../media/image92.png"/><Relationship Id="rId96" Type="http://schemas.openxmlformats.org/officeDocument/2006/relationships/image" Target="../media/image9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73" Type="http://schemas.openxmlformats.org/officeDocument/2006/relationships/image" Target="../media/image74.png"/><Relationship Id="rId78" Type="http://schemas.openxmlformats.org/officeDocument/2006/relationships/image" Target="../media/image79.png"/><Relationship Id="rId81" Type="http://schemas.openxmlformats.org/officeDocument/2006/relationships/image" Target="../media/image82.png"/><Relationship Id="rId86" Type="http://schemas.openxmlformats.org/officeDocument/2006/relationships/image" Target="../media/image87.png"/><Relationship Id="rId94" Type="http://schemas.openxmlformats.org/officeDocument/2006/relationships/image" Target="../media/image95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9" Type="http://schemas.openxmlformats.org/officeDocument/2006/relationships/image" Target="../media/image40.png"/><Relationship Id="rId34" Type="http://schemas.openxmlformats.org/officeDocument/2006/relationships/image" Target="../media/image35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6" Type="http://schemas.openxmlformats.org/officeDocument/2006/relationships/image" Target="../media/image77.png"/><Relationship Id="rId7" Type="http://schemas.openxmlformats.org/officeDocument/2006/relationships/image" Target="../media/image8.jpeg"/><Relationship Id="rId71" Type="http://schemas.openxmlformats.org/officeDocument/2006/relationships/image" Target="../media/image72.png"/><Relationship Id="rId92" Type="http://schemas.openxmlformats.org/officeDocument/2006/relationships/image" Target="../media/image93.png"/><Relationship Id="rId2" Type="http://schemas.openxmlformats.org/officeDocument/2006/relationships/image" Target="../media/image3.jpg"/><Relationship Id="rId29" Type="http://schemas.openxmlformats.org/officeDocument/2006/relationships/image" Target="../media/image30.png"/><Relationship Id="rId24" Type="http://schemas.openxmlformats.org/officeDocument/2006/relationships/image" Target="../media/image25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66" Type="http://schemas.openxmlformats.org/officeDocument/2006/relationships/image" Target="../media/image67.png"/><Relationship Id="rId87" Type="http://schemas.openxmlformats.org/officeDocument/2006/relationships/image" Target="../media/image88.png"/><Relationship Id="rId61" Type="http://schemas.openxmlformats.org/officeDocument/2006/relationships/image" Target="../media/image62.png"/><Relationship Id="rId82" Type="http://schemas.openxmlformats.org/officeDocument/2006/relationships/image" Target="../media/image83.png"/><Relationship Id="rId19" Type="http://schemas.openxmlformats.org/officeDocument/2006/relationships/image" Target="../media/image20.png"/><Relationship Id="rId14" Type="http://schemas.openxmlformats.org/officeDocument/2006/relationships/image" Target="../media/image15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56" Type="http://schemas.openxmlformats.org/officeDocument/2006/relationships/image" Target="../media/image57.png"/><Relationship Id="rId77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4E19FBF7-5F82-48DD-85A0-BCC853B5E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486" y="84784"/>
            <a:ext cx="307063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Rally Obedience Nordic class</a:t>
            </a: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BC478028-FEF8-4599-8087-BB2EEC8EB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44624"/>
            <a:ext cx="20882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Judge:</a:t>
            </a:r>
          </a:p>
        </p:txBody>
      </p:sp>
      <p:sp>
        <p:nvSpPr>
          <p:cNvPr id="4" name="Text Box 97">
            <a:extLst>
              <a:ext uri="{FF2B5EF4-FFF2-40B4-BE49-F238E27FC236}">
                <a16:creationId xmlns:a16="http://schemas.microsoft.com/office/drawing/2014/main" id="{5BBD3C34-654D-4BF4-A6DA-E4F4712F6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7376" y="44624"/>
            <a:ext cx="140791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Date: </a:t>
            </a:r>
            <a:r>
              <a:rPr lang="en-GB" sz="1100" dirty="0" err="1">
                <a:latin typeface="Consolas" panose="020B0609020204030204" pitchFamily="49" charset="0"/>
              </a:rPr>
              <a:t>dd.mm.yyyy</a:t>
            </a:r>
            <a:r>
              <a:rPr lang="en-GB" sz="1100" dirty="0">
                <a:latin typeface="Consolas" panose="020B0609020204030204" pitchFamily="49" charset="0"/>
              </a:rPr>
              <a:t> </a:t>
            </a:r>
          </a:p>
        </p:txBody>
      </p:sp>
      <p:graphicFrame>
        <p:nvGraphicFramePr>
          <p:cNvPr id="5" name="Group 112">
            <a:extLst>
              <a:ext uri="{FF2B5EF4-FFF2-40B4-BE49-F238E27FC236}">
                <a16:creationId xmlns:a16="http://schemas.microsoft.com/office/drawing/2014/main" id="{61A8DE53-A4C1-40B7-A570-31E1FBBCC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500549"/>
              </p:ext>
            </p:extLst>
          </p:nvPr>
        </p:nvGraphicFramePr>
        <p:xfrm>
          <a:off x="272480" y="6309320"/>
          <a:ext cx="8810588" cy="487680"/>
        </p:xfrm>
        <a:graphic>
          <a:graphicData uri="http://schemas.openxmlformats.org/drawingml/2006/table">
            <a:tbl>
              <a:tblPr/>
              <a:tblGrid>
                <a:gridCol w="890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Sign no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Exercise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3" name="Bilde 85">
            <a:extLst>
              <a:ext uri="{FF2B5EF4-FFF2-40B4-BE49-F238E27FC236}">
                <a16:creationId xmlns:a16="http://schemas.microsoft.com/office/drawing/2014/main" id="{569821BF-C7E1-48C1-86A5-5FECE8618B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307" y="-1035496"/>
            <a:ext cx="639759" cy="450000"/>
          </a:xfrm>
          <a:prstGeom prst="rect">
            <a:avLst/>
          </a:prstGeom>
        </p:spPr>
      </p:pic>
      <p:pic>
        <p:nvPicPr>
          <p:cNvPr id="104" name="Bilde 103">
            <a:extLst>
              <a:ext uri="{FF2B5EF4-FFF2-40B4-BE49-F238E27FC236}">
                <a16:creationId xmlns:a16="http://schemas.microsoft.com/office/drawing/2014/main" id="{E68FFC1B-10AC-48E8-A76A-887C0D518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287" y="-1038069"/>
            <a:ext cx="639759" cy="450000"/>
          </a:xfrm>
          <a:prstGeom prst="rect">
            <a:avLst/>
          </a:prstGeom>
        </p:spPr>
      </p:pic>
      <p:pic>
        <p:nvPicPr>
          <p:cNvPr id="105" name="Bilde 89">
            <a:extLst>
              <a:ext uri="{FF2B5EF4-FFF2-40B4-BE49-F238E27FC236}">
                <a16:creationId xmlns:a16="http://schemas.microsoft.com/office/drawing/2014/main" id="{84587C8C-35D7-4C56-BCC9-CAB9A5D26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05" y="-1038069"/>
            <a:ext cx="639759" cy="450000"/>
          </a:xfrm>
          <a:prstGeom prst="rect">
            <a:avLst/>
          </a:prstGeom>
        </p:spPr>
      </p:pic>
      <p:pic>
        <p:nvPicPr>
          <p:cNvPr id="106" name="Bilde 91">
            <a:extLst>
              <a:ext uri="{FF2B5EF4-FFF2-40B4-BE49-F238E27FC236}">
                <a16:creationId xmlns:a16="http://schemas.microsoft.com/office/drawing/2014/main" id="{8B4D4A73-8334-4ED2-A08E-75565BA49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462" y="-1085329"/>
            <a:ext cx="639759" cy="450000"/>
          </a:xfrm>
          <a:prstGeom prst="rect">
            <a:avLst/>
          </a:prstGeom>
        </p:spPr>
      </p:pic>
      <p:pic>
        <p:nvPicPr>
          <p:cNvPr id="107" name="Bilde 93">
            <a:extLst>
              <a:ext uri="{FF2B5EF4-FFF2-40B4-BE49-F238E27FC236}">
                <a16:creationId xmlns:a16="http://schemas.microsoft.com/office/drawing/2014/main" id="{11619001-4F8C-4CA9-B316-BFA6817020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3647387" y="-1035496"/>
            <a:ext cx="424579" cy="450000"/>
          </a:xfrm>
          <a:prstGeom prst="rect">
            <a:avLst/>
          </a:prstGeom>
        </p:spPr>
      </p:pic>
      <p:pic>
        <p:nvPicPr>
          <p:cNvPr id="108" name="Bilde 2">
            <a:extLst>
              <a:ext uri="{FF2B5EF4-FFF2-40B4-BE49-F238E27FC236}">
                <a16:creationId xmlns:a16="http://schemas.microsoft.com/office/drawing/2014/main" id="{B51BBE99-1E1A-4704-898B-7F1D893073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91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9" name="Bilde 166">
            <a:extLst>
              <a:ext uri="{FF2B5EF4-FFF2-40B4-BE49-F238E27FC236}">
                <a16:creationId xmlns:a16="http://schemas.microsoft.com/office/drawing/2014/main" id="{4C601C65-67FC-4D2B-83C4-5CEF587CD2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087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0" name="Tekstikehys 71">
            <a:extLst>
              <a:ext uri="{FF2B5EF4-FFF2-40B4-BE49-F238E27FC236}">
                <a16:creationId xmlns:a16="http://schemas.microsoft.com/office/drawing/2014/main" id="{FD31A536-6E1F-410C-AAAA-83E1AE6510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4911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111" name="Tekstikehys 71">
            <a:extLst>
              <a:ext uri="{FF2B5EF4-FFF2-40B4-BE49-F238E27FC236}">
                <a16:creationId xmlns:a16="http://schemas.microsoft.com/office/drawing/2014/main" id="{0576916B-91A4-4973-A88B-45BDC9EB3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4873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2" name="Tekstikehys 71">
            <a:extLst>
              <a:ext uri="{FF2B5EF4-FFF2-40B4-BE49-F238E27FC236}">
                <a16:creationId xmlns:a16="http://schemas.microsoft.com/office/drawing/2014/main" id="{00B037B8-136B-4D7B-856A-E779AF45A3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8404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113" name="Tekstikehys 71">
            <a:extLst>
              <a:ext uri="{FF2B5EF4-FFF2-40B4-BE49-F238E27FC236}">
                <a16:creationId xmlns:a16="http://schemas.microsoft.com/office/drawing/2014/main" id="{3BAB6A5C-7D50-47AF-A12C-B4DA97B701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17427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114" name="Tekstikehys 71">
            <a:extLst>
              <a:ext uri="{FF2B5EF4-FFF2-40B4-BE49-F238E27FC236}">
                <a16:creationId xmlns:a16="http://schemas.microsoft.com/office/drawing/2014/main" id="{B281C622-8B53-454C-8B1F-90C14A11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5133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115" name="Tekstikehys 71">
            <a:extLst>
              <a:ext uri="{FF2B5EF4-FFF2-40B4-BE49-F238E27FC236}">
                <a16:creationId xmlns:a16="http://schemas.microsoft.com/office/drawing/2014/main" id="{4BFFA491-A1F5-41DE-9DD7-2BEC0A882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84481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116" name="Tekstikehys 71">
            <a:extLst>
              <a:ext uri="{FF2B5EF4-FFF2-40B4-BE49-F238E27FC236}">
                <a16:creationId xmlns:a16="http://schemas.microsoft.com/office/drawing/2014/main" id="{EA72C8A1-7F0F-4B8D-BF16-0BF838CBB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21631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17" name="Tekstikehys 71">
            <a:extLst>
              <a:ext uri="{FF2B5EF4-FFF2-40B4-BE49-F238E27FC236}">
                <a16:creationId xmlns:a16="http://schemas.microsoft.com/office/drawing/2014/main" id="{6D2390EE-CE7B-4135-B01C-757EEA60C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5042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8" name="Tekstikehys 71">
            <a:extLst>
              <a:ext uri="{FF2B5EF4-FFF2-40B4-BE49-F238E27FC236}">
                <a16:creationId xmlns:a16="http://schemas.microsoft.com/office/drawing/2014/main" id="{B2E299B8-0AD3-42B0-9512-F37174401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898060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19" name="Tekstikehys 71">
            <a:extLst>
              <a:ext uri="{FF2B5EF4-FFF2-40B4-BE49-F238E27FC236}">
                <a16:creationId xmlns:a16="http://schemas.microsoft.com/office/drawing/2014/main" id="{266832ED-E640-4BE7-92DB-E308A43EF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331842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0" name="Tekstikehys 71">
            <a:extLst>
              <a:ext uri="{FF2B5EF4-FFF2-40B4-BE49-F238E27FC236}">
                <a16:creationId xmlns:a16="http://schemas.microsoft.com/office/drawing/2014/main" id="{4FD73A68-8705-40AE-84DF-F2C99BA3A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38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1" name="Tekstikehys 71">
            <a:extLst>
              <a:ext uri="{FF2B5EF4-FFF2-40B4-BE49-F238E27FC236}">
                <a16:creationId xmlns:a16="http://schemas.microsoft.com/office/drawing/2014/main" id="{DC34A66C-6966-4414-AB88-D696A88E0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51160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2" name="Tekstikehys 71">
            <a:extLst>
              <a:ext uri="{FF2B5EF4-FFF2-40B4-BE49-F238E27FC236}">
                <a16:creationId xmlns:a16="http://schemas.microsoft.com/office/drawing/2014/main" id="{B2FAF4E2-C94F-40B9-A192-4E750285D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84617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B0170EBB-6727-4A4B-A07E-EB69E4DDBE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2379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C43B9869-AEEF-4C48-BB16-93035E20FC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725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7069C67D-7434-4A76-951F-CA4E1C8DD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90707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8CAA775F-69BA-441C-A191-0DFCE8221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26481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AEEE308D-A295-4507-851B-37D9C5CDA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6225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96935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8571C914-A301-41B7-9C27-FB1A163B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33278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B91D0392-B780-45EF-A171-DF1E07A3E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134622"/>
            <a:ext cx="10266466" cy="584942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 anchor="t" anchorCtr="0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1.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2. STOP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3. STOP - DOWN - 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4. STOP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5. STOP – DOWN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6. RIGH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7. LEF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8.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9.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0.  LOO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1. LOO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2. 27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3. 27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4. 36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5. 36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6.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7. CALL FRONT- STOP - RIGH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8. CALL FRONT – STOP - LEF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9.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0.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1. STOP -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2. STOP -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3. STOP - 1 STEP , STOP - 2 STEPS, STOP - 3 STEPS,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4. STOP - 9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5. STOP - 9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6. SLOW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7. RU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8. NORMAL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9. SPIRAL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0. SPIRAL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1. SING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2. DOUB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3. FIGURE 8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1. 2 x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2. STOP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3.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4. STOP – RUN FROM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5. STOP – TURN RIGH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6. STOP – TURN LEF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7. STOP – 180 RIGH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8. STOP – 18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9. STOP – 180 LEF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0. STOP - 18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1. STOP – TURN RIGH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2. STOP – TURN LEF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3. CALL FRONT STOP – 1 STEP BACK STOP – 2 STEPS BACK STOP – 3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4. SEND OVER JUM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1. STOP – STAND -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2. STOP – STAND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3. STOP – STAND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4. STOP – SIDE STEP RIGH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5. STOP – SIDE STEP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6. TEMPTATIO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7. STOP – 1 STEP STAND – 2 STEPS STOP – 3 STEPS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8. CALL FRONT STOP – 1 STEP BACK STAND – 2 STEPS BACK STOP – 3 STEPS BACK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9. SPI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0. TURN TO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1. SIDE SHIFT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2. SIDE SHIFT BETWEEN LEG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3. BOTH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4. BOTH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5. STOP – SIDE SHIFT BEHIND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6. STOP – SIDE SHIFT IN FRON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7. MOVING STAND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8. MOVING DOWN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9. MOVING DOWN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0. STOP – STAND –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1. RECAL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2. SEND OVER TWO JUM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3. TUNNE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1. SIDE STE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2. SIDE STE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3. TURN APAR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4. SIDE SHIFT IN FRON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5. CIRCLE AROUND HANDLER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6. MOVING SIT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7. STOP - SEND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8. CALL FRONT – STAND - BACK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9. BACKWARDS 3 STE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0. STOP – 1 STEP BACK STOP – 2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1. STOP – RECALL OVER JUMP</a:t>
            </a:r>
          </a:p>
        </p:txBody>
      </p:sp>
      <p:pic>
        <p:nvPicPr>
          <p:cNvPr id="219" name="Picture 218" descr="Logo&#10;&#10;Description automatically generated">
            <a:extLst>
              <a:ext uri="{FF2B5EF4-FFF2-40B4-BE49-F238E27FC236}">
                <a16:creationId xmlns:a16="http://schemas.microsoft.com/office/drawing/2014/main" id="{C000A54A-17D0-4255-94FB-6E6E87F23F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BFEAAE93-0679-47CE-A487-489271E82D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111BDD09-B6BF-4DDE-B475-F0D6A4B23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8E4A595-AB44-4B6E-920A-FDC06E8880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D5121C2-F228-43AB-801C-2EED1421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Logo, company name&#10;&#10;Description automatically generated">
            <a:extLst>
              <a:ext uri="{FF2B5EF4-FFF2-40B4-BE49-F238E27FC236}">
                <a16:creationId xmlns:a16="http://schemas.microsoft.com/office/drawing/2014/main" id="{8F257058-6352-4A1D-9F50-76F18462D4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2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Logo, company name&#10;&#10;Description automatically generated">
            <a:extLst>
              <a:ext uri="{FF2B5EF4-FFF2-40B4-BE49-F238E27FC236}">
                <a16:creationId xmlns:a16="http://schemas.microsoft.com/office/drawing/2014/main" id="{4E215FF3-C8B2-4748-AF8F-70505EFF7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Icon&#10;&#10;Description automatically generated">
            <a:extLst>
              <a:ext uri="{FF2B5EF4-FFF2-40B4-BE49-F238E27FC236}">
                <a16:creationId xmlns:a16="http://schemas.microsoft.com/office/drawing/2014/main" id="{95CEBDE5-FB56-4DE5-B72E-B2FE01314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Icon&#10;&#10;Description automatically generated">
            <a:extLst>
              <a:ext uri="{FF2B5EF4-FFF2-40B4-BE49-F238E27FC236}">
                <a16:creationId xmlns:a16="http://schemas.microsoft.com/office/drawing/2014/main" id="{B0DBEEEC-91C1-40CE-ADAB-782E0FDB588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A picture containing text&#10;&#10;Description automatically generated">
            <a:extLst>
              <a:ext uri="{FF2B5EF4-FFF2-40B4-BE49-F238E27FC236}">
                <a16:creationId xmlns:a16="http://schemas.microsoft.com/office/drawing/2014/main" id="{C797C1BD-45DE-406F-A0B3-29984D2CA78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A picture containing icon&#10;&#10;Description automatically generated">
            <a:extLst>
              <a:ext uri="{FF2B5EF4-FFF2-40B4-BE49-F238E27FC236}">
                <a16:creationId xmlns:a16="http://schemas.microsoft.com/office/drawing/2014/main" id="{45DE4D79-91F5-4686-BC0D-374CEB645F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A picture containing diagram&#10;&#10;Description automatically generated">
            <a:extLst>
              <a:ext uri="{FF2B5EF4-FFF2-40B4-BE49-F238E27FC236}">
                <a16:creationId xmlns:a16="http://schemas.microsoft.com/office/drawing/2014/main" id="{BD227FF8-F0A5-408D-83B9-654B2761D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A picture containing diagram&#10;&#10;Description automatically generated">
            <a:extLst>
              <a:ext uri="{FF2B5EF4-FFF2-40B4-BE49-F238E27FC236}">
                <a16:creationId xmlns:a16="http://schemas.microsoft.com/office/drawing/2014/main" id="{4B8C27BF-6CBE-446D-99E1-51E0EDE169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Icon&#10;&#10;Description automatically generated with low confidence">
            <a:extLst>
              <a:ext uri="{FF2B5EF4-FFF2-40B4-BE49-F238E27FC236}">
                <a16:creationId xmlns:a16="http://schemas.microsoft.com/office/drawing/2014/main" id="{85913B01-7F37-40CC-823C-4CB0A549D3B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A picture containing diagram&#10;&#10;Description automatically generated">
            <a:extLst>
              <a:ext uri="{FF2B5EF4-FFF2-40B4-BE49-F238E27FC236}">
                <a16:creationId xmlns:a16="http://schemas.microsoft.com/office/drawing/2014/main" id="{403DB15D-D5A0-45AF-8212-1D356CF0C9E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0F7252-AAC7-4FF1-A9DC-56AC6410A8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301518CD-77F3-49DE-8A3C-0A95ED374DE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D43B686F-4625-4AF8-BBF4-A8017A7703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diagram&#10;&#10;Description automatically generated">
            <a:extLst>
              <a:ext uri="{FF2B5EF4-FFF2-40B4-BE49-F238E27FC236}">
                <a16:creationId xmlns:a16="http://schemas.microsoft.com/office/drawing/2014/main" id="{798064AE-CF19-4CA4-8F77-7ADE704DCB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8" name="Picture 237" descr="A picture containing icon&#10;&#10;Description automatically generated">
            <a:extLst>
              <a:ext uri="{FF2B5EF4-FFF2-40B4-BE49-F238E27FC236}">
                <a16:creationId xmlns:a16="http://schemas.microsoft.com/office/drawing/2014/main" id="{228DC22B-6222-4501-B89A-46D7F021871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9" name="Picture 238" descr="A picture containing icon&#10;&#10;Description automatically generated">
            <a:extLst>
              <a:ext uri="{FF2B5EF4-FFF2-40B4-BE49-F238E27FC236}">
                <a16:creationId xmlns:a16="http://schemas.microsoft.com/office/drawing/2014/main" id="{B5959DE7-A74F-4A79-8D71-7D6BA01771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0" name="Picture 239" descr="Chart&#10;&#10;Description automatically generated with medium confidence">
            <a:extLst>
              <a:ext uri="{FF2B5EF4-FFF2-40B4-BE49-F238E27FC236}">
                <a16:creationId xmlns:a16="http://schemas.microsoft.com/office/drawing/2014/main" id="{277F1AEA-25BD-4F92-890A-4F786C561C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1" name="Picture 240" descr="A picture containing chart&#10;&#10;Description automatically generated">
            <a:extLst>
              <a:ext uri="{FF2B5EF4-FFF2-40B4-BE49-F238E27FC236}">
                <a16:creationId xmlns:a16="http://schemas.microsoft.com/office/drawing/2014/main" id="{E6BAAE23-8596-43BE-BA7D-4C3D3D0EB04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2" name="Picture 241" descr="A picture containing icon&#10;&#10;Description automatically generated">
            <a:extLst>
              <a:ext uri="{FF2B5EF4-FFF2-40B4-BE49-F238E27FC236}">
                <a16:creationId xmlns:a16="http://schemas.microsoft.com/office/drawing/2014/main" id="{A2A0E6C1-802D-4265-8588-C45BDBF8640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3" name="Picture 242" descr="Logo&#10;&#10;Description automatically generated">
            <a:extLst>
              <a:ext uri="{FF2B5EF4-FFF2-40B4-BE49-F238E27FC236}">
                <a16:creationId xmlns:a16="http://schemas.microsoft.com/office/drawing/2014/main" id="{41F925B9-74D4-4E39-BAA8-3BE69DBFF97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4" name="Picture 243" descr="Text&#10;&#10;Description automatically generated">
            <a:extLst>
              <a:ext uri="{FF2B5EF4-FFF2-40B4-BE49-F238E27FC236}">
                <a16:creationId xmlns:a16="http://schemas.microsoft.com/office/drawing/2014/main" id="{076E998C-53EF-40F9-BB72-F740F4F75CA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5" name="Picture 244" descr="Text&#10;&#10;Description automatically generated">
            <a:extLst>
              <a:ext uri="{FF2B5EF4-FFF2-40B4-BE49-F238E27FC236}">
                <a16:creationId xmlns:a16="http://schemas.microsoft.com/office/drawing/2014/main" id="{9CB64FD0-3F6F-4443-8D0D-C1B568E5BC1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6" name="Picture 245" descr="Text&#10;&#10;Description automatically generated with low confidence">
            <a:extLst>
              <a:ext uri="{FF2B5EF4-FFF2-40B4-BE49-F238E27FC236}">
                <a16:creationId xmlns:a16="http://schemas.microsoft.com/office/drawing/2014/main" id="{ACD674E3-08C9-4D57-87DE-86C783BAA5A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7" name="Picture 246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13B310B-F371-4370-81DB-8D1D695255F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8" name="Picture 24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7F66EC-8F89-4044-A573-0B905F3D3D3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9" name="Picture 248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349C0512-48B4-401A-AD53-2DC7D8ABD6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0" name="Picture 249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C0F314E4-6374-420E-9219-C28B64613E6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1" name="Picture 25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517C199E-2166-43B1-BA29-9AF81B8C975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2" name="Picture 251" descr="Logo&#10;&#10;Description automatically generated">
            <a:extLst>
              <a:ext uri="{FF2B5EF4-FFF2-40B4-BE49-F238E27FC236}">
                <a16:creationId xmlns:a16="http://schemas.microsoft.com/office/drawing/2014/main" id="{ABFA0D93-AC3A-46F1-8280-AA722449CD8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3" name="Picture 252" descr="Logo, company name&#10;&#10;Description automatically generated">
            <a:extLst>
              <a:ext uri="{FF2B5EF4-FFF2-40B4-BE49-F238E27FC236}">
                <a16:creationId xmlns:a16="http://schemas.microsoft.com/office/drawing/2014/main" id="{8B3CE2B0-CC74-4386-9E77-0755992449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4" name="Picture 253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3E3CE2D7-1954-4EE2-9073-32F487E7277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5" name="Picture 25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4B989B9-F840-40DD-8D80-E75968F1BE4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" name="Picture 255" descr="Logo, company name&#10;&#10;Description automatically generated">
            <a:extLst>
              <a:ext uri="{FF2B5EF4-FFF2-40B4-BE49-F238E27FC236}">
                <a16:creationId xmlns:a16="http://schemas.microsoft.com/office/drawing/2014/main" id="{B4ED0BA7-A9C8-4B3D-8502-3BB1F510B5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7" name="Picture 256" descr="Logo, company name&#10;&#10;Description automatically generated">
            <a:extLst>
              <a:ext uri="{FF2B5EF4-FFF2-40B4-BE49-F238E27FC236}">
                <a16:creationId xmlns:a16="http://schemas.microsoft.com/office/drawing/2014/main" id="{65582CD8-CC44-42AB-B3D8-973E4CA3A6D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8" name="Picture 257" descr="Logo&#10;&#10;Description automatically generated with low confidence">
            <a:extLst>
              <a:ext uri="{FF2B5EF4-FFF2-40B4-BE49-F238E27FC236}">
                <a16:creationId xmlns:a16="http://schemas.microsoft.com/office/drawing/2014/main" id="{9721B744-86B8-4C46-A00A-54ABCA91EEE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9" name="Picture 258" descr="Logo, company name&#10;&#10;Description automatically generated">
            <a:extLst>
              <a:ext uri="{FF2B5EF4-FFF2-40B4-BE49-F238E27FC236}">
                <a16:creationId xmlns:a16="http://schemas.microsoft.com/office/drawing/2014/main" id="{FD34B295-A605-4DD5-BB66-465D055EEC9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0" name="Picture 259" descr="Graphical user interface&#10;&#10;Description automatically generated">
            <a:extLst>
              <a:ext uri="{FF2B5EF4-FFF2-40B4-BE49-F238E27FC236}">
                <a16:creationId xmlns:a16="http://schemas.microsoft.com/office/drawing/2014/main" id="{05273061-F7D1-48A9-AEB0-82F49642C26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1" name="Picture 26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6B8AF58-D9B4-4838-B271-FD8C5D27A9A4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2" name="Picture 261" descr="Text&#10;&#10;Description automatically generated">
            <a:extLst>
              <a:ext uri="{FF2B5EF4-FFF2-40B4-BE49-F238E27FC236}">
                <a16:creationId xmlns:a16="http://schemas.microsoft.com/office/drawing/2014/main" id="{C1ECBA85-D31B-4739-8BDE-1D91B17C2E6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3" name="Picture 262" descr="A picture containing icon&#10;&#10;Description automatically generated">
            <a:extLst>
              <a:ext uri="{FF2B5EF4-FFF2-40B4-BE49-F238E27FC236}">
                <a16:creationId xmlns:a16="http://schemas.microsoft.com/office/drawing/2014/main" id="{AABE638E-1A2A-4E07-B76F-03E43F78229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4" name="Picture 263" descr="Shape, polygon&#10;&#10;Description automatically generated">
            <a:extLst>
              <a:ext uri="{FF2B5EF4-FFF2-40B4-BE49-F238E27FC236}">
                <a16:creationId xmlns:a16="http://schemas.microsoft.com/office/drawing/2014/main" id="{075181B7-126D-4967-9B68-75A46BEB181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5" name="Picture 264" descr="A picture containing logo&#10;&#10;Description automatically generated">
            <a:extLst>
              <a:ext uri="{FF2B5EF4-FFF2-40B4-BE49-F238E27FC236}">
                <a16:creationId xmlns:a16="http://schemas.microsoft.com/office/drawing/2014/main" id="{50698D6B-975B-4EEE-94B5-CC87181815A9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6" name="Picture 265" descr="Logo&#10;&#10;Description automatically generated">
            <a:extLst>
              <a:ext uri="{FF2B5EF4-FFF2-40B4-BE49-F238E27FC236}">
                <a16:creationId xmlns:a16="http://schemas.microsoft.com/office/drawing/2014/main" id="{C4DED1C1-9ADB-4FDE-B9B6-6378C0CB56A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9477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7" name="Picture 266" descr="Shape&#10;&#10;Description automatically generated">
            <a:extLst>
              <a:ext uri="{FF2B5EF4-FFF2-40B4-BE49-F238E27FC236}">
                <a16:creationId xmlns:a16="http://schemas.microsoft.com/office/drawing/2014/main" id="{8025E844-FF86-4FF9-A129-BA5991470FB0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8" name="Picture 267" descr="Shape, arrow&#10;&#10;Description automatically generated">
            <a:extLst>
              <a:ext uri="{FF2B5EF4-FFF2-40B4-BE49-F238E27FC236}">
                <a16:creationId xmlns:a16="http://schemas.microsoft.com/office/drawing/2014/main" id="{99842462-0A38-48AB-983E-F7306E37C649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9" name="Picture 268" descr="Diagram&#10;&#10;Description automatically generated">
            <a:extLst>
              <a:ext uri="{FF2B5EF4-FFF2-40B4-BE49-F238E27FC236}">
                <a16:creationId xmlns:a16="http://schemas.microsoft.com/office/drawing/2014/main" id="{83A8C1EB-BCB4-4DF2-AD69-E7807CBC151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0" name="Picture 269" descr="Diagram, shape&#10;&#10;Description automatically generated">
            <a:extLst>
              <a:ext uri="{FF2B5EF4-FFF2-40B4-BE49-F238E27FC236}">
                <a16:creationId xmlns:a16="http://schemas.microsoft.com/office/drawing/2014/main" id="{FE01D470-6C59-48F6-BBE3-EC384886014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1" name="Picture 270" descr="A picture containing text&#10;&#10;Description automatically generated">
            <a:extLst>
              <a:ext uri="{FF2B5EF4-FFF2-40B4-BE49-F238E27FC236}">
                <a16:creationId xmlns:a16="http://schemas.microsoft.com/office/drawing/2014/main" id="{4B186925-DD29-4BBD-8AD3-49FCAD8992D4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2" name="Picture 271" descr="Text&#10;&#10;Description automatically generated">
            <a:extLst>
              <a:ext uri="{FF2B5EF4-FFF2-40B4-BE49-F238E27FC236}">
                <a16:creationId xmlns:a16="http://schemas.microsoft.com/office/drawing/2014/main" id="{05568295-0C9E-47B2-AADC-DA09398075B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3" name="Picture 272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5232C816-9B30-4D48-81AD-2CE92A6F28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4" name="Picture 273" descr="Logo, company name&#10;&#10;Description automatically generated">
            <a:extLst>
              <a:ext uri="{FF2B5EF4-FFF2-40B4-BE49-F238E27FC236}">
                <a16:creationId xmlns:a16="http://schemas.microsoft.com/office/drawing/2014/main" id="{2913146C-19B1-4D5C-BE2A-0346D1CFFF9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Picture 274" descr="A picture containing diagram&#10;&#10;Description automatically generated">
            <a:extLst>
              <a:ext uri="{FF2B5EF4-FFF2-40B4-BE49-F238E27FC236}">
                <a16:creationId xmlns:a16="http://schemas.microsoft.com/office/drawing/2014/main" id="{83C3CAE3-C239-4E56-B17D-68FF5BEA2EA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6" name="Picture 275" descr="A picture containing logo&#10;&#10;Description automatically generated">
            <a:extLst>
              <a:ext uri="{FF2B5EF4-FFF2-40B4-BE49-F238E27FC236}">
                <a16:creationId xmlns:a16="http://schemas.microsoft.com/office/drawing/2014/main" id="{E5D56291-5FC7-445E-BDA2-4C52B5C3B902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7" name="Picture 276" descr="A picture containing logo&#10;&#10;Description automatically generated">
            <a:extLst>
              <a:ext uri="{FF2B5EF4-FFF2-40B4-BE49-F238E27FC236}">
                <a16:creationId xmlns:a16="http://schemas.microsoft.com/office/drawing/2014/main" id="{60002FD9-4ACD-4D2D-9FA0-3C4192A4F6E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8" name="Picture 277" descr="A picture containing text&#10;&#10;Description automatically generated">
            <a:extLst>
              <a:ext uri="{FF2B5EF4-FFF2-40B4-BE49-F238E27FC236}">
                <a16:creationId xmlns:a16="http://schemas.microsoft.com/office/drawing/2014/main" id="{90FCB519-2DFE-4C23-AEC1-11EC14DF0E58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9" name="Picture 278" descr="Logo, company name&#10;&#10;Description automatically generated">
            <a:extLst>
              <a:ext uri="{FF2B5EF4-FFF2-40B4-BE49-F238E27FC236}">
                <a16:creationId xmlns:a16="http://schemas.microsoft.com/office/drawing/2014/main" id="{A9680FEE-A5EE-4123-B5A5-3990F7654C4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Picture 279" descr="Logo, company name&#10;&#10;Description automatically generated">
            <a:extLst>
              <a:ext uri="{FF2B5EF4-FFF2-40B4-BE49-F238E27FC236}">
                <a16:creationId xmlns:a16="http://schemas.microsoft.com/office/drawing/2014/main" id="{4DE5DA81-F230-4FB0-8A12-4F141CF98EA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1" name="Picture 280" descr="Text&#10;&#10;Description automatically generated with medium confidence">
            <a:extLst>
              <a:ext uri="{FF2B5EF4-FFF2-40B4-BE49-F238E27FC236}">
                <a16:creationId xmlns:a16="http://schemas.microsoft.com/office/drawing/2014/main" id="{6E50BC63-CE4F-466C-BD24-77D2DBA99AA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Picture 281" descr="Diagram&#10;&#10;Description automatically generated">
            <a:extLst>
              <a:ext uri="{FF2B5EF4-FFF2-40B4-BE49-F238E27FC236}">
                <a16:creationId xmlns:a16="http://schemas.microsoft.com/office/drawing/2014/main" id="{0B5D77D6-31E3-41B3-A9F2-52D2433AD5E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Picture 282" descr="A picture containing logo&#10;&#10;Description automatically generated">
            <a:extLst>
              <a:ext uri="{FF2B5EF4-FFF2-40B4-BE49-F238E27FC236}">
                <a16:creationId xmlns:a16="http://schemas.microsoft.com/office/drawing/2014/main" id="{B017EBA6-11E7-46FC-8CBD-C0F5108C9C9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Picture 283" descr="A picture containing logo&#10;&#10;Description automatically generated">
            <a:extLst>
              <a:ext uri="{FF2B5EF4-FFF2-40B4-BE49-F238E27FC236}">
                <a16:creationId xmlns:a16="http://schemas.microsoft.com/office/drawing/2014/main" id="{B8B3EEC5-E641-472E-B4F7-38FE41790494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Picture 28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5965CC01-EF4F-49C0-BDEF-6819AD650A94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Picture 285" descr="Logo, company name&#10;&#10;Description automatically generated">
            <a:extLst>
              <a:ext uri="{FF2B5EF4-FFF2-40B4-BE49-F238E27FC236}">
                <a16:creationId xmlns:a16="http://schemas.microsoft.com/office/drawing/2014/main" id="{A7CD34A3-833E-4742-BDB4-3D24B6C68792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Picture 286" descr="Logo, company name&#10;&#10;Description automatically generated">
            <a:extLst>
              <a:ext uri="{FF2B5EF4-FFF2-40B4-BE49-F238E27FC236}">
                <a16:creationId xmlns:a16="http://schemas.microsoft.com/office/drawing/2014/main" id="{73F2A485-212D-4AE6-869D-CF9EEC3357D8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Picture 28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2B44004-FD77-4283-83A0-91F50B5C68F5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Picture 288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252779D5-3A00-46D6-874C-66FB8E8A3609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Picture 289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8B387E91-7C1D-4BF1-9B39-FB7130BB1443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Picture 29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D5DDF782-760A-4C61-B897-E9245F7C756F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2" name="Picture 291" descr="Logo, company name&#10;&#10;Description automatically generated">
            <a:extLst>
              <a:ext uri="{FF2B5EF4-FFF2-40B4-BE49-F238E27FC236}">
                <a16:creationId xmlns:a16="http://schemas.microsoft.com/office/drawing/2014/main" id="{EE134077-5A1E-4D41-A0FF-20DC9FB84EE7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3" name="Picture 292" descr="A picture containing icon&#10;&#10;Description automatically generated">
            <a:extLst>
              <a:ext uri="{FF2B5EF4-FFF2-40B4-BE49-F238E27FC236}">
                <a16:creationId xmlns:a16="http://schemas.microsoft.com/office/drawing/2014/main" id="{CAE7B5D5-48C4-4C96-B525-3CB7DF40FD9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4" name="Picture 293" descr="A picture containing logo&#10;&#10;Description automatically generated">
            <a:extLst>
              <a:ext uri="{FF2B5EF4-FFF2-40B4-BE49-F238E27FC236}">
                <a16:creationId xmlns:a16="http://schemas.microsoft.com/office/drawing/2014/main" id="{07D4974C-D8B3-463C-BE28-FFCD9F9DBC1C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5" name="Picture 294" descr="Logo&#10;&#10;Description automatically generated with low confidence">
            <a:extLst>
              <a:ext uri="{FF2B5EF4-FFF2-40B4-BE49-F238E27FC236}">
                <a16:creationId xmlns:a16="http://schemas.microsoft.com/office/drawing/2014/main" id="{0CF92CFE-3352-4A92-9804-E3D878559E9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6" name="Picture 295" descr="A picture containing logo&#10;&#10;Description automatically generated">
            <a:extLst>
              <a:ext uri="{FF2B5EF4-FFF2-40B4-BE49-F238E27FC236}">
                <a16:creationId xmlns:a16="http://schemas.microsoft.com/office/drawing/2014/main" id="{6E6AADC9-CACC-4318-8E08-10F8F40AB58C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7" name="Picture 296" descr="Shape&#10;&#10;Description automatically generated">
            <a:extLst>
              <a:ext uri="{FF2B5EF4-FFF2-40B4-BE49-F238E27FC236}">
                <a16:creationId xmlns:a16="http://schemas.microsoft.com/office/drawing/2014/main" id="{C5A19266-A30B-450D-A7E4-9DAB7E6B93C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8" name="Picture 297" descr="Diagram&#10;&#10;Description automatically generated">
            <a:extLst>
              <a:ext uri="{FF2B5EF4-FFF2-40B4-BE49-F238E27FC236}">
                <a16:creationId xmlns:a16="http://schemas.microsoft.com/office/drawing/2014/main" id="{08CEAA20-3749-4602-9EB7-25926326C20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9" name="Picture 298" descr="Diagram&#10;&#10;Description automatically generated">
            <a:extLst>
              <a:ext uri="{FF2B5EF4-FFF2-40B4-BE49-F238E27FC236}">
                <a16:creationId xmlns:a16="http://schemas.microsoft.com/office/drawing/2014/main" id="{B6990C98-8748-457C-B43C-07DB419A8C8B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0" name="Picture 299" descr="Text&#10;&#10;Description automatically generated">
            <a:extLst>
              <a:ext uri="{FF2B5EF4-FFF2-40B4-BE49-F238E27FC236}">
                <a16:creationId xmlns:a16="http://schemas.microsoft.com/office/drawing/2014/main" id="{33FA46D2-FC89-467D-A70A-3A206584D519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1" name="Picture 300" descr="Text&#10;&#10;Description automatically generated with medium confidence">
            <a:extLst>
              <a:ext uri="{FF2B5EF4-FFF2-40B4-BE49-F238E27FC236}">
                <a16:creationId xmlns:a16="http://schemas.microsoft.com/office/drawing/2014/main" id="{5C6AC4F3-3672-42F0-BE32-947B3A43DCF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:a16="http://schemas.microsoft.com/office/drawing/2014/main" id="{1CBB18D9-4C41-497C-B2B0-2C67DAEFBB4B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3" name="Picture 302" descr="Diagram, text&#10;&#10;Description automatically generated">
            <a:extLst>
              <a:ext uri="{FF2B5EF4-FFF2-40B4-BE49-F238E27FC236}">
                <a16:creationId xmlns:a16="http://schemas.microsoft.com/office/drawing/2014/main" id="{16E97138-E52E-40C3-A946-A2E7A475B0B4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4" name="Picture 303" descr="A picture containing logo&#10;&#10;Description automatically generated">
            <a:extLst>
              <a:ext uri="{FF2B5EF4-FFF2-40B4-BE49-F238E27FC236}">
                <a16:creationId xmlns:a16="http://schemas.microsoft.com/office/drawing/2014/main" id="{66410357-2F25-402D-BBCA-B83843DF2D18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5" name="Picture 304" descr="Icon&#10;&#10;Description automatically generated with low confidence">
            <a:extLst>
              <a:ext uri="{FF2B5EF4-FFF2-40B4-BE49-F238E27FC236}">
                <a16:creationId xmlns:a16="http://schemas.microsoft.com/office/drawing/2014/main" id="{8D8F58CE-7ACD-465A-BE94-48B36DA6D2F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6" name="Picture 305" descr="A picture containing icon&#10;&#10;Description automatically generated">
            <a:extLst>
              <a:ext uri="{FF2B5EF4-FFF2-40B4-BE49-F238E27FC236}">
                <a16:creationId xmlns:a16="http://schemas.microsoft.com/office/drawing/2014/main" id="{08ACF424-ACE1-4A54-A3DF-E3BB5A0ADFAE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98398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Bilde 85">
            <a:extLst>
              <a:ext uri="{FF2B5EF4-FFF2-40B4-BE49-F238E27FC236}">
                <a16:creationId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888" y="2936255"/>
            <a:ext cx="639759" cy="450000"/>
          </a:xfrm>
          <a:prstGeom prst="rect">
            <a:avLst/>
          </a:prstGeom>
        </p:spPr>
      </p:pic>
      <p:pic>
        <p:nvPicPr>
          <p:cNvPr id="88" name="Bilde 87">
            <a:extLst>
              <a:ext uri="{FF2B5EF4-FFF2-40B4-BE49-F238E27FC236}">
                <a16:creationId xmlns:a16="http://schemas.microsoft.com/office/drawing/2014/main" id="{57E23DC4-44ED-4421-B3B6-35191DAB4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008" y="3008263"/>
            <a:ext cx="639759" cy="450000"/>
          </a:xfrm>
          <a:prstGeom prst="rect">
            <a:avLst/>
          </a:prstGeom>
        </p:spPr>
      </p:pic>
      <p:pic>
        <p:nvPicPr>
          <p:cNvPr id="89" name="Bilde 89">
            <a:extLst>
              <a:ext uri="{FF2B5EF4-FFF2-40B4-BE49-F238E27FC236}">
                <a16:creationId xmlns:a16="http://schemas.microsoft.com/office/drawing/2014/main" id="{CCE2A9A3-901D-49FE-9431-A7E4524EA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096" y="3008263"/>
            <a:ext cx="639759" cy="450000"/>
          </a:xfrm>
          <a:prstGeom prst="rect">
            <a:avLst/>
          </a:prstGeom>
        </p:spPr>
      </p:pic>
      <p:pic>
        <p:nvPicPr>
          <p:cNvPr id="90" name="Bilde 91">
            <a:extLst>
              <a:ext uri="{FF2B5EF4-FFF2-40B4-BE49-F238E27FC236}">
                <a16:creationId xmlns:a16="http://schemas.microsoft.com/office/drawing/2014/main" id="{C28EFBB8-90F4-4306-A54D-B06FF3D9B3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184" y="3008263"/>
            <a:ext cx="639759" cy="450000"/>
          </a:xfrm>
          <a:prstGeom prst="rect">
            <a:avLst/>
          </a:prstGeom>
        </p:spPr>
      </p:pic>
      <p:pic>
        <p:nvPicPr>
          <p:cNvPr id="91" name="Bilde 93">
            <a:extLst>
              <a:ext uri="{FF2B5EF4-FFF2-40B4-BE49-F238E27FC236}">
                <a16:creationId xmlns:a16="http://schemas.microsoft.com/office/drawing/2014/main" id="{ED03EC45-96DF-44C8-9A4E-5BED0BAEC16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6548968" y="2936255"/>
            <a:ext cx="424579" cy="450000"/>
          </a:xfrm>
          <a:prstGeom prst="rect">
            <a:avLst/>
          </a:prstGeom>
        </p:spPr>
      </p:pic>
      <p:sp>
        <p:nvSpPr>
          <p:cNvPr id="92" name="Rectangle 118">
            <a:extLst>
              <a:ext uri="{FF2B5EF4-FFF2-40B4-BE49-F238E27FC236}">
                <a16:creationId xmlns:a16="http://schemas.microsoft.com/office/drawing/2014/main" id="{DD5BEB9A-403E-4EC8-AE06-AD2A220639C1}"/>
              </a:ext>
            </a:extLst>
          </p:cNvPr>
          <p:cNvSpPr/>
          <p:nvPr/>
        </p:nvSpPr>
        <p:spPr>
          <a:xfrm>
            <a:off x="5668677" y="4149811"/>
            <a:ext cx="37289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latin typeface="Consolas" panose="020B0609020204030204" pitchFamily="49" charset="0"/>
              </a:rPr>
              <a:t>The course must contai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</p:txBody>
      </p:sp>
      <p:sp>
        <p:nvSpPr>
          <p:cNvPr id="93" name="Tekstikehys 71">
            <a:extLst>
              <a:ext uri="{FF2B5EF4-FFF2-40B4-BE49-F238E27FC236}">
                <a16:creationId xmlns:a16="http://schemas.microsoft.com/office/drawing/2014/main" id="{89A41A35-8CCB-473F-BC95-30096C888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76153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94" name="Tekstikehys 71">
            <a:extLst>
              <a:ext uri="{FF2B5EF4-FFF2-40B4-BE49-F238E27FC236}">
                <a16:creationId xmlns:a16="http://schemas.microsoft.com/office/drawing/2014/main" id="{B72B8F08-280B-4118-8261-949BB7339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09974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95" name="Tekstikehys 71">
            <a:extLst>
              <a:ext uri="{FF2B5EF4-FFF2-40B4-BE49-F238E27FC236}">
                <a16:creationId xmlns:a16="http://schemas.microsoft.com/office/drawing/2014/main" id="{46E245C0-4207-4BAD-97A4-D41D717434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4528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96" name="Tekstikehys 71">
            <a:extLst>
              <a:ext uri="{FF2B5EF4-FFF2-40B4-BE49-F238E27FC236}">
                <a16:creationId xmlns:a16="http://schemas.microsoft.com/office/drawing/2014/main" id="{720EA9C9-6264-4892-9430-5046D579C0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78669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97" name="Tekstikehys 71">
            <a:extLst>
              <a:ext uri="{FF2B5EF4-FFF2-40B4-BE49-F238E27FC236}">
                <a16:creationId xmlns:a16="http://schemas.microsoft.com/office/drawing/2014/main" id="{83B81DA6-BCDB-417E-B799-268945F2F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1257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98" name="Tekstikehys 71">
            <a:extLst>
              <a:ext uri="{FF2B5EF4-FFF2-40B4-BE49-F238E27FC236}">
                <a16:creationId xmlns:a16="http://schemas.microsoft.com/office/drawing/2014/main" id="{FC5F3EE5-434F-427C-9E4F-6227455E0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4572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99" name="Tekstikehys 71">
            <a:extLst>
              <a:ext uri="{FF2B5EF4-FFF2-40B4-BE49-F238E27FC236}">
                <a16:creationId xmlns:a16="http://schemas.microsoft.com/office/drawing/2014/main" id="{0ED69681-97A1-4E2E-92C4-357B85923F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82873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00" name="Tekstikehys 71">
            <a:extLst>
              <a:ext uri="{FF2B5EF4-FFF2-40B4-BE49-F238E27FC236}">
                <a16:creationId xmlns:a16="http://schemas.microsoft.com/office/drawing/2014/main" id="{B0C18584-3DCD-480F-B6AB-C38EE1945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1166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01" name="Tekstikehys 71">
            <a:extLst>
              <a:ext uri="{FF2B5EF4-FFF2-40B4-BE49-F238E27FC236}">
                <a16:creationId xmlns:a16="http://schemas.microsoft.com/office/drawing/2014/main" id="{5F27AD93-10D4-4FDB-8C1B-395EC519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51048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02" name="Tekstikehys 71">
            <a:extLst>
              <a:ext uri="{FF2B5EF4-FFF2-40B4-BE49-F238E27FC236}">
                <a16:creationId xmlns:a16="http://schemas.microsoft.com/office/drawing/2014/main" id="{6ABA1649-4BE5-4990-A78D-BCE29FD3A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93084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E15A2D2A-F97E-4345-A334-0F2E5AEEA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7662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E8A88F84-5B64-45CC-A915-F13C9B5211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12402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8FC3D350-0DDC-4FD4-9805-5FB1E1635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45859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4CBA97AB-3537-4373-8E64-A9B38898B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8503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3CF72860-8601-4E61-9676-2C00BA5644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1849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A67867F7-8AF6-4B7B-BA8C-A613681AB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51949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5EDB465B-C43B-49B1-B5FE-BF08E92166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87724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F006C2E5-A2DC-4DC1-9F08-FB058BA6D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2349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31" name="Tekstikehys 71">
            <a:extLst>
              <a:ext uri="{FF2B5EF4-FFF2-40B4-BE49-F238E27FC236}">
                <a16:creationId xmlns:a16="http://schemas.microsoft.com/office/drawing/2014/main" id="{C84AB1BD-2443-4855-A58E-303D39F19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58177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32" name="Tekstikehys 71">
            <a:extLst>
              <a:ext uri="{FF2B5EF4-FFF2-40B4-BE49-F238E27FC236}">
                <a16:creationId xmlns:a16="http://schemas.microsoft.com/office/drawing/2014/main" id="{28C769F8-3A00-4909-AEB0-36035A17A1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94025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33" name="Bilde 2">
            <a:extLst>
              <a:ext uri="{FF2B5EF4-FFF2-40B4-BE49-F238E27FC236}">
                <a16:creationId xmlns:a16="http://schemas.microsoft.com/office/drawing/2014/main" id="{9F69A990-74A3-438C-B448-7137ABDB09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697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4" name="Bilde 166">
            <a:extLst>
              <a:ext uri="{FF2B5EF4-FFF2-40B4-BE49-F238E27FC236}">
                <a16:creationId xmlns:a16="http://schemas.microsoft.com/office/drawing/2014/main" id="{FFD2D56A-66B0-487E-A5B0-125E8BDC14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793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0" name="Picture 149" descr="Logo&#10;&#10;Description automatically generated">
            <a:extLst>
              <a:ext uri="{FF2B5EF4-FFF2-40B4-BE49-F238E27FC236}">
                <a16:creationId xmlns:a16="http://schemas.microsoft.com/office/drawing/2014/main" id="{4666DFBB-F72F-459C-BD32-636730E945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1" name="Picture 15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2C002294-8476-4361-80A6-CEFACCCE4E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2" name="Picture 151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03570505-DC95-49CC-AD70-35A2A4A0BB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" name="Picture 15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6325504-6075-4ADE-ACF7-831BA63CB7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4" name="Picture 153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15DB826-8290-4F83-B884-8A5AFC4AEB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5" name="Picture 154" descr="Logo, company name&#10;&#10;Description automatically generated">
            <a:extLst>
              <a:ext uri="{FF2B5EF4-FFF2-40B4-BE49-F238E27FC236}">
                <a16:creationId xmlns:a16="http://schemas.microsoft.com/office/drawing/2014/main" id="{2D4E7995-9F76-4CF2-B536-AA9C67E4EE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69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6" name="Picture 155" descr="Logo, company name&#10;&#10;Description automatically generated">
            <a:extLst>
              <a:ext uri="{FF2B5EF4-FFF2-40B4-BE49-F238E27FC236}">
                <a16:creationId xmlns:a16="http://schemas.microsoft.com/office/drawing/2014/main" id="{60681589-082C-4FD0-A7EC-2570F2D818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7" name="Picture 156" descr="Icon&#10;&#10;Description automatically generated">
            <a:extLst>
              <a:ext uri="{FF2B5EF4-FFF2-40B4-BE49-F238E27FC236}">
                <a16:creationId xmlns:a16="http://schemas.microsoft.com/office/drawing/2014/main" id="{93FB9ABA-0CC2-49D1-8E3F-0622986CEB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8" name="Picture 157" descr="Icon&#10;&#10;Description automatically generated">
            <a:extLst>
              <a:ext uri="{FF2B5EF4-FFF2-40B4-BE49-F238E27FC236}">
                <a16:creationId xmlns:a16="http://schemas.microsoft.com/office/drawing/2014/main" id="{25333BAC-3BB4-47C8-8A39-DC153E964E2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9" name="Picture 158" descr="A picture containing text&#10;&#10;Description automatically generated">
            <a:extLst>
              <a:ext uri="{FF2B5EF4-FFF2-40B4-BE49-F238E27FC236}">
                <a16:creationId xmlns:a16="http://schemas.microsoft.com/office/drawing/2014/main" id="{8716F39A-F527-4BD1-B6AB-028960C036B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0" name="Picture 159" descr="A picture containing icon&#10;&#10;Description automatically generated">
            <a:extLst>
              <a:ext uri="{FF2B5EF4-FFF2-40B4-BE49-F238E27FC236}">
                <a16:creationId xmlns:a16="http://schemas.microsoft.com/office/drawing/2014/main" id="{4A5CB591-B9A0-43EC-A262-CA0CA237C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1" name="Picture 1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A34DE7AF-E199-40C1-81F7-BC9E148F96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2" name="Picture 161" descr="A picture containing diagram&#10;&#10;Description automatically generated">
            <a:extLst>
              <a:ext uri="{FF2B5EF4-FFF2-40B4-BE49-F238E27FC236}">
                <a16:creationId xmlns:a16="http://schemas.microsoft.com/office/drawing/2014/main" id="{7C9CA1D3-3CAA-4BB5-B91A-E034F5122C6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3" name="Picture 162" descr="Icon&#10;&#10;Description automatically generated with low confidence">
            <a:extLst>
              <a:ext uri="{FF2B5EF4-FFF2-40B4-BE49-F238E27FC236}">
                <a16:creationId xmlns:a16="http://schemas.microsoft.com/office/drawing/2014/main" id="{2AB7C400-2DFB-4746-A2CC-BAB02AC0DA5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4" name="Picture 16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E9062E7-788B-46D5-8AD6-DF4B63EA767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5" name="Picture 16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9C0E76-D708-4083-B7EE-9DB6FE9146B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6" name="Picture 165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F9BA1A0F-1003-4234-88B0-0291853B450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7" name="Picture 166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AFB003DC-0216-408C-9405-D19A721E7D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8" name="Picture 167" descr="A picture containing diagram&#10;&#10;Description automatically generated">
            <a:extLst>
              <a:ext uri="{FF2B5EF4-FFF2-40B4-BE49-F238E27FC236}">
                <a16:creationId xmlns:a16="http://schemas.microsoft.com/office/drawing/2014/main" id="{C500EDEB-C4E1-424B-95F0-3774594052A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9" name="Picture 168" descr="A picture containing icon&#10;&#10;Description automatically generated">
            <a:extLst>
              <a:ext uri="{FF2B5EF4-FFF2-40B4-BE49-F238E27FC236}">
                <a16:creationId xmlns:a16="http://schemas.microsoft.com/office/drawing/2014/main" id="{0852739F-EE17-46A4-A2EB-DBF450BFC2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0" name="Picture 169" descr="A picture containing icon&#10;&#10;Description automatically generated">
            <a:extLst>
              <a:ext uri="{FF2B5EF4-FFF2-40B4-BE49-F238E27FC236}">
                <a16:creationId xmlns:a16="http://schemas.microsoft.com/office/drawing/2014/main" id="{E86F4A9C-598F-4BD3-9449-FD49ABC5BCA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1" name="Picture 17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76D41C6-87D4-47A9-80BA-F8FB2878ECE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2" name="Picture 171" descr="A picture containing chart&#10;&#10;Description automatically generated">
            <a:extLst>
              <a:ext uri="{FF2B5EF4-FFF2-40B4-BE49-F238E27FC236}">
                <a16:creationId xmlns:a16="http://schemas.microsoft.com/office/drawing/2014/main" id="{CFEA8E7E-59F9-4893-9D0A-12201099478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3" name="Picture 172" descr="A picture containing icon&#10;&#10;Description automatically generated">
            <a:extLst>
              <a:ext uri="{FF2B5EF4-FFF2-40B4-BE49-F238E27FC236}">
                <a16:creationId xmlns:a16="http://schemas.microsoft.com/office/drawing/2014/main" id="{D9556412-2F65-4FAB-A918-76D39CFADDF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4" name="Picture 173" descr="Logo&#10;&#10;Description automatically generated">
            <a:extLst>
              <a:ext uri="{FF2B5EF4-FFF2-40B4-BE49-F238E27FC236}">
                <a16:creationId xmlns:a16="http://schemas.microsoft.com/office/drawing/2014/main" id="{947B6576-7B67-4D5E-BB49-8789C5952E3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5" name="Picture 174" descr="Text&#10;&#10;Description automatically generated">
            <a:extLst>
              <a:ext uri="{FF2B5EF4-FFF2-40B4-BE49-F238E27FC236}">
                <a16:creationId xmlns:a16="http://schemas.microsoft.com/office/drawing/2014/main" id="{0F0FE719-8ECA-429E-B41A-5BD57F5CB7A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6" name="Picture 175" descr="Text&#10;&#10;Description automatically generated">
            <a:extLst>
              <a:ext uri="{FF2B5EF4-FFF2-40B4-BE49-F238E27FC236}">
                <a16:creationId xmlns:a16="http://schemas.microsoft.com/office/drawing/2014/main" id="{5E96D4F3-60FC-4DD9-98EE-01D22BBAB24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7" name="Picture 176" descr="Text&#10;&#10;Description automatically generated with low confidence">
            <a:extLst>
              <a:ext uri="{FF2B5EF4-FFF2-40B4-BE49-F238E27FC236}">
                <a16:creationId xmlns:a16="http://schemas.microsoft.com/office/drawing/2014/main" id="{27194E2B-AAD7-49B5-8F27-FB668EA236C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8" name="Picture 177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82560265-3949-493A-A472-0ACE66D8A5D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9" name="Picture 17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EB2813-0BBA-444A-81A8-09149F52A96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0" name="Picture 179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AEA6ADE8-6EEE-47DB-8F72-DB5668BE1C0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1" name="Picture 18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B0877473-EBB0-43B2-9F65-41A2A5838693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2" name="Picture 181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1CAE9A8E-594E-43F0-8C61-B66760D117CD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3" name="Picture 182" descr="Logo&#10;&#10;Description automatically generated">
            <a:extLst>
              <a:ext uri="{FF2B5EF4-FFF2-40B4-BE49-F238E27FC236}">
                <a16:creationId xmlns:a16="http://schemas.microsoft.com/office/drawing/2014/main" id="{3E921946-0EDD-420D-99D0-825AEFFECF24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4" name="Picture 183" descr="Logo, company name&#10;&#10;Description automatically generated">
            <a:extLst>
              <a:ext uri="{FF2B5EF4-FFF2-40B4-BE49-F238E27FC236}">
                <a16:creationId xmlns:a16="http://schemas.microsoft.com/office/drawing/2014/main" id="{9B9B2FFC-6A0C-4BFE-85D1-EAE41B1F163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5" name="Picture 18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F3FCEEB-8BBA-4DCD-89AB-4DA247B7B50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6" name="Picture 18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D3F77C-0B98-4216-94D4-3BB36A4087B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7" name="Picture 186" descr="Logo, company name&#10;&#10;Description automatically generated">
            <a:extLst>
              <a:ext uri="{FF2B5EF4-FFF2-40B4-BE49-F238E27FC236}">
                <a16:creationId xmlns:a16="http://schemas.microsoft.com/office/drawing/2014/main" id="{782364DC-6C68-482C-AFD2-7506CC4E331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8" name="Picture 187" descr="Logo, company name&#10;&#10;Description automatically generated">
            <a:extLst>
              <a:ext uri="{FF2B5EF4-FFF2-40B4-BE49-F238E27FC236}">
                <a16:creationId xmlns:a16="http://schemas.microsoft.com/office/drawing/2014/main" id="{98AD081C-76CD-477D-98F0-E06FE4918AF2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9" name="Picture 188" descr="Logo&#10;&#10;Description automatically generated with low confidence">
            <a:extLst>
              <a:ext uri="{FF2B5EF4-FFF2-40B4-BE49-F238E27FC236}">
                <a16:creationId xmlns:a16="http://schemas.microsoft.com/office/drawing/2014/main" id="{F697F402-4F37-4CCE-9026-E66B3123AD67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0" name="Picture 189" descr="Logo, company name&#10;&#10;Description automatically generated">
            <a:extLst>
              <a:ext uri="{FF2B5EF4-FFF2-40B4-BE49-F238E27FC236}">
                <a16:creationId xmlns:a16="http://schemas.microsoft.com/office/drawing/2014/main" id="{B57D0B8D-8992-4117-ABEB-759BA1B842F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1" name="Picture 190" descr="Graphical user interface&#10;&#10;Description automatically generated">
            <a:extLst>
              <a:ext uri="{FF2B5EF4-FFF2-40B4-BE49-F238E27FC236}">
                <a16:creationId xmlns:a16="http://schemas.microsoft.com/office/drawing/2014/main" id="{01C7B51A-46B4-4528-8922-B4C79FBD28A6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2" name="Picture 19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D5683C9-B033-46CE-9557-04566CAAD29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3" name="Picture 192" descr="Text&#10;&#10;Description automatically generated">
            <a:extLst>
              <a:ext uri="{FF2B5EF4-FFF2-40B4-BE49-F238E27FC236}">
                <a16:creationId xmlns:a16="http://schemas.microsoft.com/office/drawing/2014/main" id="{26E19386-9635-404A-8EBE-47E441CC884C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4" name="Picture 193" descr="A picture containing icon&#10;&#10;Description automatically generated">
            <a:extLst>
              <a:ext uri="{FF2B5EF4-FFF2-40B4-BE49-F238E27FC236}">
                <a16:creationId xmlns:a16="http://schemas.microsoft.com/office/drawing/2014/main" id="{5EE473A3-F975-4670-9BCB-0BD782446A2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5" name="Picture 194" descr="Shape, polygon&#10;&#10;Description automatically generated">
            <a:extLst>
              <a:ext uri="{FF2B5EF4-FFF2-40B4-BE49-F238E27FC236}">
                <a16:creationId xmlns:a16="http://schemas.microsoft.com/office/drawing/2014/main" id="{C04192FA-1B00-402D-88BA-5D7F6F34C47A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6" name="Picture 195" descr="A picture containing logo&#10;&#10;Description automatically generated">
            <a:extLst>
              <a:ext uri="{FF2B5EF4-FFF2-40B4-BE49-F238E27FC236}">
                <a16:creationId xmlns:a16="http://schemas.microsoft.com/office/drawing/2014/main" id="{4AD23E4E-6CEC-4EBF-980C-270052430DCB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7" name="Picture 196" descr="Logo&#10;&#10;Description automatically generated">
            <a:extLst>
              <a:ext uri="{FF2B5EF4-FFF2-40B4-BE49-F238E27FC236}">
                <a16:creationId xmlns:a16="http://schemas.microsoft.com/office/drawing/2014/main" id="{BE9C2066-FBA3-46BF-9B01-886E7CF878A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94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8" name="Picture 197" descr="Shape&#10;&#10;Description automatically generated">
            <a:extLst>
              <a:ext uri="{FF2B5EF4-FFF2-40B4-BE49-F238E27FC236}">
                <a16:creationId xmlns:a16="http://schemas.microsoft.com/office/drawing/2014/main" id="{B8387EAF-2A9F-45C9-B0C1-28C6AFE33CB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9" name="Picture 198" descr="Shape, arrow&#10;&#10;Description automatically generated">
            <a:extLst>
              <a:ext uri="{FF2B5EF4-FFF2-40B4-BE49-F238E27FC236}">
                <a16:creationId xmlns:a16="http://schemas.microsoft.com/office/drawing/2014/main" id="{CE65E27B-524E-4802-BDFA-952C53B1BD8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0" name="Picture 199" descr="Diagram&#10;&#10;Description automatically generated">
            <a:extLst>
              <a:ext uri="{FF2B5EF4-FFF2-40B4-BE49-F238E27FC236}">
                <a16:creationId xmlns:a16="http://schemas.microsoft.com/office/drawing/2014/main" id="{6B2A83CA-0181-4707-AB70-584396A3A807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1" name="Picture 200" descr="Diagram, shape&#10;&#10;Description automatically generated">
            <a:extLst>
              <a:ext uri="{FF2B5EF4-FFF2-40B4-BE49-F238E27FC236}">
                <a16:creationId xmlns:a16="http://schemas.microsoft.com/office/drawing/2014/main" id="{D648EBA4-9D2F-4206-9008-BB913B541F1F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2" name="Picture 201" descr="A picture containing text&#10;&#10;Description automatically generated">
            <a:extLst>
              <a:ext uri="{FF2B5EF4-FFF2-40B4-BE49-F238E27FC236}">
                <a16:creationId xmlns:a16="http://schemas.microsoft.com/office/drawing/2014/main" id="{EEBD2251-73F5-437F-842B-06F45B3336E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3" name="Picture 202" descr="Text&#10;&#10;Description automatically generated">
            <a:extLst>
              <a:ext uri="{FF2B5EF4-FFF2-40B4-BE49-F238E27FC236}">
                <a16:creationId xmlns:a16="http://schemas.microsoft.com/office/drawing/2014/main" id="{4FBF7A9B-5662-42AF-802C-BF07BC388C1E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4" name="Picture 203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B720BEE2-0431-4661-93C9-4FE7DFC6C6B6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" name="Picture 204" descr="Logo, company name&#10;&#10;Description automatically generated">
            <a:extLst>
              <a:ext uri="{FF2B5EF4-FFF2-40B4-BE49-F238E27FC236}">
                <a16:creationId xmlns:a16="http://schemas.microsoft.com/office/drawing/2014/main" id="{0DB8C6A4-A547-47B1-98C6-26753CE47F6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6" name="Picture 205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E053CB-FB9E-4CFB-9A10-CD5F01434F25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7" name="Picture 206" descr="A picture containing logo&#10;&#10;Description automatically generated">
            <a:extLst>
              <a:ext uri="{FF2B5EF4-FFF2-40B4-BE49-F238E27FC236}">
                <a16:creationId xmlns:a16="http://schemas.microsoft.com/office/drawing/2014/main" id="{E775109E-5AFB-488A-8E38-DB56F669C847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8" name="Picture 207" descr="A picture containing logo&#10;&#10;Description automatically generated">
            <a:extLst>
              <a:ext uri="{FF2B5EF4-FFF2-40B4-BE49-F238E27FC236}">
                <a16:creationId xmlns:a16="http://schemas.microsoft.com/office/drawing/2014/main" id="{8F6024A1-7908-4CD9-AEC0-520102E3E547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9" name="Picture 208" descr="A picture containing text&#10;&#10;Description automatically generated">
            <a:extLst>
              <a:ext uri="{FF2B5EF4-FFF2-40B4-BE49-F238E27FC236}">
                <a16:creationId xmlns:a16="http://schemas.microsoft.com/office/drawing/2014/main" id="{2063E669-5D52-40BD-B7C7-883CE86493F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0" name="Picture 209" descr="Logo, company name&#10;&#10;Description automatically generated">
            <a:extLst>
              <a:ext uri="{FF2B5EF4-FFF2-40B4-BE49-F238E27FC236}">
                <a16:creationId xmlns:a16="http://schemas.microsoft.com/office/drawing/2014/main" id="{5376A4A5-D274-412E-9FC6-CBA5AAB7E31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1" name="Picture 210" descr="Logo, company name&#10;&#10;Description automatically generated">
            <a:extLst>
              <a:ext uri="{FF2B5EF4-FFF2-40B4-BE49-F238E27FC236}">
                <a16:creationId xmlns:a16="http://schemas.microsoft.com/office/drawing/2014/main" id="{4C570F88-FF0A-4E3E-9F15-DD4F3475C9E2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2" name="Picture 211" descr="Text&#10;&#10;Description automatically generated with medium confidence">
            <a:extLst>
              <a:ext uri="{FF2B5EF4-FFF2-40B4-BE49-F238E27FC236}">
                <a16:creationId xmlns:a16="http://schemas.microsoft.com/office/drawing/2014/main" id="{349AFBE1-0290-4030-8C95-3B185C710EE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3" name="Picture 212" descr="Diagram&#10;&#10;Description automatically generated">
            <a:extLst>
              <a:ext uri="{FF2B5EF4-FFF2-40B4-BE49-F238E27FC236}">
                <a16:creationId xmlns:a16="http://schemas.microsoft.com/office/drawing/2014/main" id="{6623A6DF-9053-4044-B19D-C7DECE10F5F5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4" name="Picture 213" descr="A picture containing logo&#10;&#10;Description automatically generated">
            <a:extLst>
              <a:ext uri="{FF2B5EF4-FFF2-40B4-BE49-F238E27FC236}">
                <a16:creationId xmlns:a16="http://schemas.microsoft.com/office/drawing/2014/main" id="{4A236BA3-7E34-4CF5-AD2A-D511B81B4BDC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5" name="Picture 214" descr="A picture containing logo&#10;&#10;Description automatically generated">
            <a:extLst>
              <a:ext uri="{FF2B5EF4-FFF2-40B4-BE49-F238E27FC236}">
                <a16:creationId xmlns:a16="http://schemas.microsoft.com/office/drawing/2014/main" id="{22C867CE-AA4C-442B-A3BD-34743A2A455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6" name="Picture 21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0114242E-10AD-432E-BD60-6BF8C2FFD9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7" name="Picture 216" descr="Logo, company name&#10;&#10;Description automatically generated">
            <a:extLst>
              <a:ext uri="{FF2B5EF4-FFF2-40B4-BE49-F238E27FC236}">
                <a16:creationId xmlns:a16="http://schemas.microsoft.com/office/drawing/2014/main" id="{70CBA671-24CC-4A43-873C-B7290D6BCA9B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8" name="Picture 217" descr="Logo, company name&#10;&#10;Description automatically generated">
            <a:extLst>
              <a:ext uri="{FF2B5EF4-FFF2-40B4-BE49-F238E27FC236}">
                <a16:creationId xmlns:a16="http://schemas.microsoft.com/office/drawing/2014/main" id="{EEE53881-C656-4341-8D21-367D7558E9D1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9" name="Picture 21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7C0AB7-CBF2-40C4-9B74-A1F213C24DDB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A837C145-BD64-4272-8CD2-001196CA58B4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BA0E51C5-0935-4882-AE61-D92F94CEF848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A8747101-74BC-4A82-8648-4F4398787DEF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Logo, company name&#10;&#10;Description automatically generated">
            <a:extLst>
              <a:ext uri="{FF2B5EF4-FFF2-40B4-BE49-F238E27FC236}">
                <a16:creationId xmlns:a16="http://schemas.microsoft.com/office/drawing/2014/main" id="{A08013D2-7D34-474B-AA79-401E2809C084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A picture containing icon&#10;&#10;Description automatically generated">
            <a:extLst>
              <a:ext uri="{FF2B5EF4-FFF2-40B4-BE49-F238E27FC236}">
                <a16:creationId xmlns:a16="http://schemas.microsoft.com/office/drawing/2014/main" id="{60BF039F-0E39-4D20-8596-2E1E6C5F74D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A picture containing logo&#10;&#10;Description automatically generated">
            <a:extLst>
              <a:ext uri="{FF2B5EF4-FFF2-40B4-BE49-F238E27FC236}">
                <a16:creationId xmlns:a16="http://schemas.microsoft.com/office/drawing/2014/main" id="{1B8EC753-6EC4-4957-9235-9300E36E2D31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Logo&#10;&#10;Description automatically generated with low confidence">
            <a:extLst>
              <a:ext uri="{FF2B5EF4-FFF2-40B4-BE49-F238E27FC236}">
                <a16:creationId xmlns:a16="http://schemas.microsoft.com/office/drawing/2014/main" id="{650A52ED-CF09-425D-A1E2-90C4DF002D36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A picture containing logo&#10;&#10;Description automatically generated">
            <a:extLst>
              <a:ext uri="{FF2B5EF4-FFF2-40B4-BE49-F238E27FC236}">
                <a16:creationId xmlns:a16="http://schemas.microsoft.com/office/drawing/2014/main" id="{78217D3B-8335-4C8D-B8A7-5372D8E236A3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Shape&#10;&#10;Description automatically generated">
            <a:extLst>
              <a:ext uri="{FF2B5EF4-FFF2-40B4-BE49-F238E27FC236}">
                <a16:creationId xmlns:a16="http://schemas.microsoft.com/office/drawing/2014/main" id="{88A667EA-8E20-4553-B39B-FAE287957497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Diagram&#10;&#10;Description automatically generated">
            <a:extLst>
              <a:ext uri="{FF2B5EF4-FFF2-40B4-BE49-F238E27FC236}">
                <a16:creationId xmlns:a16="http://schemas.microsoft.com/office/drawing/2014/main" id="{195410E7-B15A-4366-B3DB-FB9FCCCDF273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Diagram&#10;&#10;Description automatically generated">
            <a:extLst>
              <a:ext uri="{FF2B5EF4-FFF2-40B4-BE49-F238E27FC236}">
                <a16:creationId xmlns:a16="http://schemas.microsoft.com/office/drawing/2014/main" id="{E82E3AF4-F376-44D6-9238-21DCB924B82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Text&#10;&#10;Description automatically generated">
            <a:extLst>
              <a:ext uri="{FF2B5EF4-FFF2-40B4-BE49-F238E27FC236}">
                <a16:creationId xmlns:a16="http://schemas.microsoft.com/office/drawing/2014/main" id="{86B839A1-E51C-4675-A45C-1537291FFA5F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Text&#10;&#10;Description automatically generated with medium confidence">
            <a:extLst>
              <a:ext uri="{FF2B5EF4-FFF2-40B4-BE49-F238E27FC236}">
                <a16:creationId xmlns:a16="http://schemas.microsoft.com/office/drawing/2014/main" id="{829064EF-D4A4-4CB0-AC86-6D3825AE8A34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Logo, company name&#10;&#10;Description automatically generated">
            <a:extLst>
              <a:ext uri="{FF2B5EF4-FFF2-40B4-BE49-F238E27FC236}">
                <a16:creationId xmlns:a16="http://schemas.microsoft.com/office/drawing/2014/main" id="{264DD4D9-A881-435F-8805-ED9B5137D0EC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Diagram, text&#10;&#10;Description automatically generated">
            <a:extLst>
              <a:ext uri="{FF2B5EF4-FFF2-40B4-BE49-F238E27FC236}">
                <a16:creationId xmlns:a16="http://schemas.microsoft.com/office/drawing/2014/main" id="{237C1403-0A0B-4E61-A232-65E9DC20E34D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logo&#10;&#10;Description automatically generated">
            <a:extLst>
              <a:ext uri="{FF2B5EF4-FFF2-40B4-BE49-F238E27FC236}">
                <a16:creationId xmlns:a16="http://schemas.microsoft.com/office/drawing/2014/main" id="{9F6DF48F-450D-4BBC-AB4F-EF74D641A228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Icon&#10;&#10;Description automatically generated with low confidence">
            <a:extLst>
              <a:ext uri="{FF2B5EF4-FFF2-40B4-BE49-F238E27FC236}">
                <a16:creationId xmlns:a16="http://schemas.microsoft.com/office/drawing/2014/main" id="{BE34A701-1958-4D97-B2EC-CC3D4814FA5A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icon&#10;&#10;Description automatically generated">
            <a:extLst>
              <a:ext uri="{FF2B5EF4-FFF2-40B4-BE49-F238E27FC236}">
                <a16:creationId xmlns:a16="http://schemas.microsoft.com/office/drawing/2014/main" id="{65304874-FA90-48ED-9D02-51363F88F606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6840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SiB5yQ42iAyYlDQt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z1OkFSNiYQsMnKji.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i.2b2qTHCYDJ5sKb0A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ciPr2Qym9LMhzf0cC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nb1bmSou0MtFSvVy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VimAXTgS9d4BPKHQF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6rDHjTOq1S6N86o6t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JlkvcQ3WytkJJxUi6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k0GgHSsm74xc_TOxz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RpfQ2Ry2cSWcPhLSb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JILcyCTUWvIfN8V2w2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bA3lh4TVaf.Y806Ugn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QOg.6uROK1phjKNoUD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oDeaBQ7SluQfNV.aT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.vDocdQj2QiXjqz1Xx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EJ4qaQ.iQPSnLTd6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6jPoCfQvuqRR5WENvo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6T6BrXSm.BYXrss79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2gLk.QTT6LPp9vZWMB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qTzliRQ.oim0HzEs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Gaf8STxCA2lMRu9J7Rg"/>
</p:tagLst>
</file>

<file path=ppt/theme/theme1.xml><?xml version="1.0" encoding="utf-8"?>
<a:theme xmlns:a="http://schemas.openxmlformats.org/drawingml/2006/main" name="STANDARD tom bane 2017  husk start med gem som">
  <a:themeElements>
    <a:clrScheme name="tom_bane-med_skilte09små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om_bane-med_skilte09små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m_bane-med_skilte09små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799FA2C-3599-4110-84FB-1D303544A20E}" vid="{DB568EEE-1337-47D6-8659-F202299DD225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799FA2C-3599-4110-84FB-1D303544A20E}" vid="{8016D3E9-5AD2-459D-B30A-2E206BED1A9F}"/>
    </a:ext>
  </a:extLst>
</a:theme>
</file>

<file path=ppt/theme/theme3.xml><?xml version="1.0" encoding="utf-8"?>
<a:theme xmlns:a="http://schemas.openxmlformats.org/drawingml/2006/main" name="Olet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FC63CA983E2C45B5EC17951D6976A5" ma:contentTypeVersion="13" ma:contentTypeDescription="Opret et nyt dokument." ma:contentTypeScope="" ma:versionID="ea0c38b51d2f4ed00daa186bec7356b9">
  <xsd:schema xmlns:xsd="http://www.w3.org/2001/XMLSchema" xmlns:xs="http://www.w3.org/2001/XMLSchema" xmlns:p="http://schemas.microsoft.com/office/2006/metadata/properties" xmlns:ns2="1e5bfc5c-de17-4f5c-be04-4fbeebd17f0a" xmlns:ns3="dfc27a06-619b-464b-b753-61f85770eab9" targetNamespace="http://schemas.microsoft.com/office/2006/metadata/properties" ma:root="true" ma:fieldsID="428e188e92ea30f12864716db69d832c" ns2:_="" ns3:_="">
    <xsd:import namespace="1e5bfc5c-de17-4f5c-be04-4fbeebd17f0a"/>
    <xsd:import namespace="dfc27a06-619b-464b-b753-61f85770ea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5bfc5c-de17-4f5c-be04-4fbeebd17f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27a06-619b-464b-b753-61f85770eab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098794F-931A-48D8-A415-01EDB4E92D5A}"/>
</file>

<file path=customXml/itemProps2.xml><?xml version="1.0" encoding="utf-8"?>
<ds:datastoreItem xmlns:ds="http://schemas.openxmlformats.org/officeDocument/2006/customXml" ds:itemID="{751BE4EC-3EC7-41BD-AF00-A5A73733AA96}"/>
</file>

<file path=customXml/itemProps3.xml><?xml version="1.0" encoding="utf-8"?>
<ds:datastoreItem xmlns:ds="http://schemas.openxmlformats.org/officeDocument/2006/customXml" ds:itemID="{604DF5A6-5CD9-4183-B318-178E8E0B4954}"/>
</file>

<file path=docProps/app.xml><?xml version="1.0" encoding="utf-8"?>
<Properties xmlns="http://schemas.openxmlformats.org/officeDocument/2006/extended-properties" xmlns:vt="http://schemas.openxmlformats.org/officeDocument/2006/docPropsVTypes">
  <Template>Nordic Championship</Template>
  <TotalTime>1178</TotalTime>
  <Words>709</Words>
  <Application>Microsoft Macintosh PowerPoint</Application>
  <PresentationFormat>A4 (210 x 297 mm)</PresentationFormat>
  <Paragraphs>158</Paragraphs>
  <Slides>2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10" baseType="lpstr">
      <vt:lpstr>Arial</vt:lpstr>
      <vt:lpstr>Calibri</vt:lpstr>
      <vt:lpstr>Consolas</vt:lpstr>
      <vt:lpstr>Times New Roman</vt:lpstr>
      <vt:lpstr>STANDARD tom bane 2017  husk start med gem som</vt:lpstr>
      <vt:lpstr>Kontortema</vt:lpstr>
      <vt:lpstr>Oletus</vt:lpstr>
      <vt:lpstr>think-cell Slide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Iiris Harju</dc:creator>
  <cp:lastModifiedBy>Solveig Zetterstrøm</cp:lastModifiedBy>
  <cp:revision>68</cp:revision>
  <dcterms:created xsi:type="dcterms:W3CDTF">2019-02-15T06:36:00Z</dcterms:created>
  <dcterms:modified xsi:type="dcterms:W3CDTF">2021-09-24T07:0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C63CA983E2C45B5EC17951D6976A5</vt:lpwstr>
  </property>
</Properties>
</file>